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8" r:id="rId1"/>
  </p:sldMasterIdLst>
  <p:notesMasterIdLst>
    <p:notesMasterId r:id="rId15"/>
  </p:notesMasterIdLst>
  <p:sldIdLst>
    <p:sldId id="2147477458" r:id="rId2"/>
    <p:sldId id="401" r:id="rId3"/>
    <p:sldId id="453" r:id="rId4"/>
    <p:sldId id="2147477406" r:id="rId5"/>
    <p:sldId id="455" r:id="rId6"/>
    <p:sldId id="457" r:id="rId7"/>
    <p:sldId id="10408" r:id="rId8"/>
    <p:sldId id="7895" r:id="rId9"/>
    <p:sldId id="340" r:id="rId10"/>
    <p:sldId id="2147477456" r:id="rId11"/>
    <p:sldId id="2147477460" r:id="rId12"/>
    <p:sldId id="2147477459" r:id="rId13"/>
    <p:sldId id="7906" r:id="rId14"/>
  </p:sldIdLst>
  <p:sldSz cx="9144000" cy="5143500" type="screen16x9"/>
  <p:notesSz cx="7099300" cy="10234613"/>
  <p:custDataLst>
    <p:tags r:id="rId16"/>
  </p:custDataLst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6158"/>
    <a:srgbClr val="FF5050"/>
    <a:srgbClr val="A6A6A6"/>
    <a:srgbClr val="BFB800"/>
    <a:srgbClr val="EA7600"/>
    <a:srgbClr val="FB821E"/>
    <a:srgbClr val="F80E1D"/>
    <a:srgbClr val="FDBC24"/>
    <a:srgbClr val="FFC000"/>
    <a:srgbClr val="F4BA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294" autoAdjust="0"/>
    <p:restoredTop sz="94660"/>
  </p:normalViewPr>
  <p:slideViewPr>
    <p:cSldViewPr snapToGrid="0" snapToObjects="1">
      <p:cViewPr varScale="1">
        <p:scale>
          <a:sx n="141" d="100"/>
          <a:sy n="141" d="100"/>
        </p:scale>
        <p:origin x="108" y="200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DADC59-1F51-40CB-B14F-0F67008BCB35}" type="doc">
      <dgm:prSet loTypeId="urn:microsoft.com/office/officeart/2005/8/layout/cycle4" loCatId="cycle" qsTypeId="urn:microsoft.com/office/officeart/2005/8/quickstyle/simple3" qsCatId="simple" csTypeId="urn:microsoft.com/office/officeart/2005/8/colors/accent3_1" csCatId="accent3" phldr="1"/>
      <dgm:spPr/>
      <dgm:t>
        <a:bodyPr/>
        <a:lstStyle/>
        <a:p>
          <a:endParaRPr lang="es-CL"/>
        </a:p>
      </dgm:t>
    </dgm:pt>
    <dgm:pt modelId="{F37DBD2E-15F1-4D85-9AAA-7AE0394DC8BC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Público</a:t>
          </a:r>
        </a:p>
      </dgm:t>
    </dgm:pt>
    <dgm:pt modelId="{64BABC51-B160-4826-8E20-F62C9DDB2949}" type="parTrans" cxnId="{257242DA-0B2C-4847-B635-5AADCD58D2A3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8BAB7A9C-C67B-4EE9-98D4-5A4047ADB574}" type="sibTrans" cxnId="{257242DA-0B2C-4847-B635-5AADCD58D2A3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546B0248-E790-4D62-A559-0839A4593E07}">
      <dgm:prSet phldrT="[Texto]" custT="1"/>
      <dgm:spPr/>
      <dgm:t>
        <a:bodyPr/>
        <a:lstStyle/>
        <a:p>
          <a:r>
            <a:rPr lang="es-CL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ONAF</a:t>
          </a:r>
        </a:p>
      </dgm:t>
    </dgm:pt>
    <dgm:pt modelId="{DA1A6C98-48C2-4F1F-9F83-BD3FF695DE05}" type="parTrans" cxnId="{9D06E82F-E2ED-4EC1-B442-4C7BAD38B4F5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3464E802-2F6B-49C5-A89A-6EAC6FD0E398}" type="sibTrans" cxnId="{9D06E82F-E2ED-4EC1-B442-4C7BAD38B4F5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7B5E15CE-EFB0-4165-A390-167882D7E42E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Privado</a:t>
          </a:r>
        </a:p>
      </dgm:t>
    </dgm:pt>
    <dgm:pt modelId="{2868E8DB-DD73-4EEF-83A5-DBB58D64CF30}" type="parTrans" cxnId="{33925DE8-D87F-492F-8F43-93302F95BC4B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42A0801A-568D-408B-BC67-C67421D88379}" type="sibTrans" cxnId="{33925DE8-D87F-492F-8F43-93302F95BC4B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6C589962-5B08-4DD8-A577-8B70F8705558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ORMA</a:t>
          </a:r>
        </a:p>
      </dgm:t>
    </dgm:pt>
    <dgm:pt modelId="{FED0BF41-E526-46B5-A4D1-6E921B5B0CD4}" type="parTrans" cxnId="{1EAFF147-A018-4CBE-93F1-2ADA5035BC40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D6A7CDF5-52A2-4500-BEE2-6F0DB3A21F19}" type="sibTrans" cxnId="{1EAFF147-A018-4CBE-93F1-2ADA5035BC40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47FA7942-624E-42D5-8695-439F002F3E1E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Viviendas</a:t>
          </a:r>
        </a:p>
      </dgm:t>
    </dgm:pt>
    <dgm:pt modelId="{92CD8126-29B8-44B5-9802-B3E027208AEA}" type="parTrans" cxnId="{3003FC75-3F10-41B9-B604-8B8510CDE6D8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77B1ADD3-667E-4AFF-A1E2-A97D8DAD21C3}" type="sibTrans" cxnId="{3003FC75-3F10-41B9-B604-8B8510CDE6D8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46F675FB-53A2-4E05-8868-1EEEA21A641B}">
      <dgm:prSet phldrT="[Texto]" custT="1"/>
      <dgm:spPr/>
      <dgm:t>
        <a:bodyPr/>
        <a:lstStyle/>
        <a:p>
          <a:r>
            <a:rPr lang="es-CL" sz="6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           </a:t>
          </a:r>
          <a:r>
            <a:rPr lang="es-CL" sz="10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Bomberos</a:t>
          </a:r>
        </a:p>
      </dgm:t>
    </dgm:pt>
    <dgm:pt modelId="{FF0C0D2A-01FE-457E-B20C-5400C0D63145}" type="parTrans" cxnId="{BA6930D7-FB4A-4D3E-884C-9353A0199D9C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F621063D-E759-4DB9-88D0-6967535CF41C}" type="sibTrans" cxnId="{BA6930D7-FB4A-4D3E-884C-9353A0199D9C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E60B70D4-B302-41A6-8EF1-93AC935E6CC1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Grandes Incendios</a:t>
          </a:r>
        </a:p>
      </dgm:t>
    </dgm:pt>
    <dgm:pt modelId="{902F704F-23C7-4405-84DC-334FFDE4E92E}" type="parTrans" cxnId="{DDE3C6BC-BCA7-4771-BF3C-674DD1086D57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B64F5052-E70F-4F33-B34B-0455B2803A49}" type="sibTrans" cxnId="{DDE3C6BC-BCA7-4771-BF3C-674DD1086D57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361EA405-0151-4005-A368-7D48F4CE4AC3}">
      <dgm:prSet phldrT="[Texto]" custT="1"/>
      <dgm:spPr/>
      <dgm:t>
        <a:bodyPr/>
        <a:lstStyle/>
        <a:p>
          <a:r>
            <a:rPr lang="es-CL" sz="8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SENAPRED</a:t>
          </a:r>
        </a:p>
      </dgm:t>
    </dgm:pt>
    <dgm:pt modelId="{6606AE83-B038-4E6B-806F-25F12FAB3456}" type="parTrans" cxnId="{82255DFD-9690-443B-8478-C24CCEEB58FB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B28F4EF5-C3D3-4594-A225-4185714FBD8A}" type="sibTrans" cxnId="{82255DFD-9690-443B-8478-C24CCEEB58FB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2B40D89D-FA67-432C-A884-401EA154A0D6}">
      <dgm:prSet phldrT="[Texto]" custT="1"/>
      <dgm:spPr/>
      <dgm:t>
        <a:bodyPr/>
        <a:lstStyle/>
        <a:p>
          <a:r>
            <a:rPr lang="es-CL" sz="8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Militares</a:t>
          </a:r>
        </a:p>
      </dgm:t>
    </dgm:pt>
    <dgm:pt modelId="{DFE4A798-A8B1-416B-98BE-7DD3A8E7806B}" type="parTrans" cxnId="{26C03B8D-05A9-4D5C-B69E-13285A2DBCEF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FD2BF2CA-28E9-4D57-A006-4A40A5D859CF}" type="sibTrans" cxnId="{26C03B8D-05A9-4D5C-B69E-13285A2DBCEF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36D1A0F2-A8FE-4ED0-8386-927E5B77D25C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Arauco</a:t>
          </a:r>
        </a:p>
      </dgm:t>
    </dgm:pt>
    <dgm:pt modelId="{F271ED17-F650-4343-BC47-ED881C8ACC51}" type="parTrans" cxnId="{8DA87995-6349-4121-9FB4-ED1A4A45C2F8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E2AF50C8-4859-4598-B2F4-5390AB14CD51}" type="sibTrans" cxnId="{8DA87995-6349-4121-9FB4-ED1A4A45C2F8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922DE9FD-8F6D-4EC3-A8A2-E715F795941F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MPC</a:t>
          </a:r>
        </a:p>
      </dgm:t>
    </dgm:pt>
    <dgm:pt modelId="{3995B376-CFE0-49B8-83B3-75E86996DEB8}" type="parTrans" cxnId="{1FEA7065-9BB2-4402-A4D5-5673A57742AB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7AB1322F-9D55-4CD4-A518-646994327991}" type="sibTrans" cxnId="{1FEA7065-9BB2-4402-A4D5-5673A57742AB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752A8334-E96D-4831-B0D4-D65EA975039C}">
      <dgm:prSet phldrT="[Texto]" custT="1"/>
      <dgm:spPr/>
      <dgm:t>
        <a:bodyPr/>
        <a:lstStyle/>
        <a:p>
          <a:r>
            <a:rPr lang="es-CL" sz="8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Ayuda internacional</a:t>
          </a:r>
        </a:p>
      </dgm:t>
    </dgm:pt>
    <dgm:pt modelId="{4249F60E-0F12-4BC2-9163-FFCF4F921020}" type="parTrans" cxnId="{EFB93D17-0F49-4146-9B4A-74658F1C9243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BE5D5E76-D228-42B9-9BE1-35C2133FAAA7}" type="sibTrans" cxnId="{EFB93D17-0F49-4146-9B4A-74658F1C9243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0A95E5A3-0BBE-48F3-97DA-74384AA7C031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ambium</a:t>
          </a:r>
        </a:p>
      </dgm:t>
    </dgm:pt>
    <dgm:pt modelId="{29194F30-0EF6-4279-A07D-CDD4E56FF88C}" type="parTrans" cxnId="{123D4BFB-55E5-42CC-A07F-894BA0F1B927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2C97B82A-4E6D-44FF-B901-283C25256D89}" type="sibTrans" cxnId="{123D4BFB-55E5-42CC-A07F-894BA0F1B927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2FEF49A2-289F-41FB-A41E-D1322A6FF686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Vista hermosa</a:t>
          </a:r>
        </a:p>
      </dgm:t>
    </dgm:pt>
    <dgm:pt modelId="{E227D290-F7B1-4EF5-9396-D1F46484411D}" type="parTrans" cxnId="{17ED233E-B53B-43AB-B23B-9DCA03E554AB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4C40DBEB-FEF8-4C11-8342-9AE0ECB95B3A}" type="sibTrans" cxnId="{17ED233E-B53B-43AB-B23B-9DCA03E554AB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A29077F4-4312-45F2-BC20-087C74220966}">
      <dgm:prSet phldrT="[Texto]"/>
      <dgm:spPr/>
      <dgm:t>
        <a:bodyPr/>
        <a:lstStyle/>
        <a:p>
          <a:r>
            <a:rPr lang="es-CL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omaco</a:t>
          </a:r>
        </a:p>
      </dgm:t>
    </dgm:pt>
    <dgm:pt modelId="{53F737B1-091C-4123-9A2A-C105D3CEADEF}" type="parTrans" cxnId="{E55EE20E-ADDE-4221-B10C-4347FE2BC4B7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E010D547-46BE-43D3-B77E-F0294607F2F6}" type="sibTrans" cxnId="{E55EE20E-ADDE-4221-B10C-4347FE2BC4B7}">
      <dgm:prSet/>
      <dgm:spPr/>
      <dgm:t>
        <a:bodyPr/>
        <a:lstStyle/>
        <a:p>
          <a:endParaRPr lang="es-CL"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endParaRPr>
        </a:p>
      </dgm:t>
    </dgm:pt>
    <dgm:pt modelId="{0D49110B-B728-4E87-BBD5-1435218E8B4B}" type="pres">
      <dgm:prSet presAssocID="{E2DADC59-1F51-40CB-B14F-0F67008BCB35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608350FB-95FD-476A-8075-D939C23BF375}" type="pres">
      <dgm:prSet presAssocID="{E2DADC59-1F51-40CB-B14F-0F67008BCB35}" presName="children" presStyleCnt="0"/>
      <dgm:spPr/>
    </dgm:pt>
    <dgm:pt modelId="{62F95E29-FEA1-484C-8497-72540704FD51}" type="pres">
      <dgm:prSet presAssocID="{E2DADC59-1F51-40CB-B14F-0F67008BCB35}" presName="child1group" presStyleCnt="0"/>
      <dgm:spPr/>
    </dgm:pt>
    <dgm:pt modelId="{1ED5D410-3066-44DD-BADA-6BB89CF4C386}" type="pres">
      <dgm:prSet presAssocID="{E2DADC59-1F51-40CB-B14F-0F67008BCB35}" presName="child1" presStyleLbl="bgAcc1" presStyleIdx="0" presStyleCnt="4"/>
      <dgm:spPr/>
    </dgm:pt>
    <dgm:pt modelId="{6B0FE3CF-2ADC-4345-AF45-6DBF42AC7405}" type="pres">
      <dgm:prSet presAssocID="{E2DADC59-1F51-40CB-B14F-0F67008BCB35}" presName="child1Text" presStyleLbl="bgAcc1" presStyleIdx="0" presStyleCnt="4">
        <dgm:presLayoutVars>
          <dgm:bulletEnabled val="1"/>
        </dgm:presLayoutVars>
      </dgm:prSet>
      <dgm:spPr/>
    </dgm:pt>
    <dgm:pt modelId="{5E23C6D7-AC4D-41B3-84A3-A43AC4C8F57A}" type="pres">
      <dgm:prSet presAssocID="{E2DADC59-1F51-40CB-B14F-0F67008BCB35}" presName="child2group" presStyleCnt="0"/>
      <dgm:spPr/>
    </dgm:pt>
    <dgm:pt modelId="{2984D39E-B933-4493-A9D9-C1DCA5B5BB6B}" type="pres">
      <dgm:prSet presAssocID="{E2DADC59-1F51-40CB-B14F-0F67008BCB35}" presName="child2" presStyleLbl="bgAcc1" presStyleIdx="1" presStyleCnt="4"/>
      <dgm:spPr/>
    </dgm:pt>
    <dgm:pt modelId="{25AD8B15-C101-4D1E-A5B5-B30658B49757}" type="pres">
      <dgm:prSet presAssocID="{E2DADC59-1F51-40CB-B14F-0F67008BCB35}" presName="child2Text" presStyleLbl="bgAcc1" presStyleIdx="1" presStyleCnt="4">
        <dgm:presLayoutVars>
          <dgm:bulletEnabled val="1"/>
        </dgm:presLayoutVars>
      </dgm:prSet>
      <dgm:spPr/>
    </dgm:pt>
    <dgm:pt modelId="{2EEE7E58-5620-4C05-A226-EDAB73389E9F}" type="pres">
      <dgm:prSet presAssocID="{E2DADC59-1F51-40CB-B14F-0F67008BCB35}" presName="child3group" presStyleCnt="0"/>
      <dgm:spPr/>
    </dgm:pt>
    <dgm:pt modelId="{77024773-583F-4C3B-8151-67C8326EF13B}" type="pres">
      <dgm:prSet presAssocID="{E2DADC59-1F51-40CB-B14F-0F67008BCB35}" presName="child3" presStyleLbl="bgAcc1" presStyleIdx="2" presStyleCnt="4"/>
      <dgm:spPr/>
    </dgm:pt>
    <dgm:pt modelId="{88806476-EECA-4769-97EA-F48DACFBE690}" type="pres">
      <dgm:prSet presAssocID="{E2DADC59-1F51-40CB-B14F-0F67008BCB35}" presName="child3Text" presStyleLbl="bgAcc1" presStyleIdx="2" presStyleCnt="4">
        <dgm:presLayoutVars>
          <dgm:bulletEnabled val="1"/>
        </dgm:presLayoutVars>
      </dgm:prSet>
      <dgm:spPr/>
    </dgm:pt>
    <dgm:pt modelId="{97D80BD9-3878-4E18-9966-0C590333FBF6}" type="pres">
      <dgm:prSet presAssocID="{E2DADC59-1F51-40CB-B14F-0F67008BCB35}" presName="child4group" presStyleCnt="0"/>
      <dgm:spPr/>
    </dgm:pt>
    <dgm:pt modelId="{E0928910-3AB9-4870-850D-5C5DC480E596}" type="pres">
      <dgm:prSet presAssocID="{E2DADC59-1F51-40CB-B14F-0F67008BCB35}" presName="child4" presStyleLbl="bgAcc1" presStyleIdx="3" presStyleCnt="4"/>
      <dgm:spPr/>
    </dgm:pt>
    <dgm:pt modelId="{4055ACC4-0D1A-452E-BE8E-993F42C4AC0E}" type="pres">
      <dgm:prSet presAssocID="{E2DADC59-1F51-40CB-B14F-0F67008BCB35}" presName="child4Text" presStyleLbl="bgAcc1" presStyleIdx="3" presStyleCnt="4">
        <dgm:presLayoutVars>
          <dgm:bulletEnabled val="1"/>
        </dgm:presLayoutVars>
      </dgm:prSet>
      <dgm:spPr/>
    </dgm:pt>
    <dgm:pt modelId="{14B92D5B-BA7F-490A-BBE5-6D6F7BBDD0C3}" type="pres">
      <dgm:prSet presAssocID="{E2DADC59-1F51-40CB-B14F-0F67008BCB35}" presName="childPlaceholder" presStyleCnt="0"/>
      <dgm:spPr/>
    </dgm:pt>
    <dgm:pt modelId="{BA6A509A-D68B-49E8-81E5-0DFF9A3D17CF}" type="pres">
      <dgm:prSet presAssocID="{E2DADC59-1F51-40CB-B14F-0F67008BCB35}" presName="circle" presStyleCnt="0"/>
      <dgm:spPr/>
    </dgm:pt>
    <dgm:pt modelId="{7A9C15B2-44C4-4A22-BA4C-CB8DE2AB7F16}" type="pres">
      <dgm:prSet presAssocID="{E2DADC59-1F51-40CB-B14F-0F67008BCB35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84E7E13E-C75A-4686-AB8E-7EF19089BF43}" type="pres">
      <dgm:prSet presAssocID="{E2DADC59-1F51-40CB-B14F-0F67008BCB35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C88DDC1A-CFCB-40EF-B36A-78BD035B60EF}" type="pres">
      <dgm:prSet presAssocID="{E2DADC59-1F51-40CB-B14F-0F67008BCB35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BCE3183B-E8AF-4021-9B75-ED96D60278E7}" type="pres">
      <dgm:prSet presAssocID="{E2DADC59-1F51-40CB-B14F-0F67008BCB35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B193A32C-3A59-4338-9602-3B9BBEF05468}" type="pres">
      <dgm:prSet presAssocID="{E2DADC59-1F51-40CB-B14F-0F67008BCB35}" presName="quadrantPlaceholder" presStyleCnt="0"/>
      <dgm:spPr/>
    </dgm:pt>
    <dgm:pt modelId="{3C4EB1CA-CF3F-4C4D-A660-66BE45765A36}" type="pres">
      <dgm:prSet presAssocID="{E2DADC59-1F51-40CB-B14F-0F67008BCB35}" presName="center1" presStyleLbl="fgShp" presStyleIdx="0" presStyleCnt="2"/>
      <dgm:spPr/>
    </dgm:pt>
    <dgm:pt modelId="{EBAB3B5E-9CC9-40AA-A040-2CBC3314638A}" type="pres">
      <dgm:prSet presAssocID="{E2DADC59-1F51-40CB-B14F-0F67008BCB35}" presName="center2" presStyleLbl="fgShp" presStyleIdx="1" presStyleCnt="2"/>
      <dgm:spPr/>
    </dgm:pt>
  </dgm:ptLst>
  <dgm:cxnLst>
    <dgm:cxn modelId="{26843401-62E2-434C-93F2-CA5AF23B6E94}" type="presOf" srcId="{546B0248-E790-4D62-A559-0839A4593E07}" destId="{6B0FE3CF-2ADC-4345-AF45-6DBF42AC7405}" srcOrd="1" destOrd="0" presId="urn:microsoft.com/office/officeart/2005/8/layout/cycle4"/>
    <dgm:cxn modelId="{E55EE20E-ADDE-4221-B10C-4347FE2BC4B7}" srcId="{7B5E15CE-EFB0-4165-A390-167882D7E42E}" destId="{A29077F4-4312-45F2-BC20-087C74220966}" srcOrd="5" destOrd="0" parTransId="{53F737B1-091C-4123-9A2A-C105D3CEADEF}" sibTransId="{E010D547-46BE-43D3-B77E-F0294607F2F6}"/>
    <dgm:cxn modelId="{B5B9EB0E-7317-4007-A23A-9A236F9B8638}" type="presOf" srcId="{361EA405-0151-4005-A368-7D48F4CE4AC3}" destId="{4055ACC4-0D1A-452E-BE8E-993F42C4AC0E}" srcOrd="1" destOrd="0" presId="urn:microsoft.com/office/officeart/2005/8/layout/cycle4"/>
    <dgm:cxn modelId="{B1495211-A508-48EC-A4E1-7CCEBAC6A5D8}" type="presOf" srcId="{47FA7942-624E-42D5-8695-439F002F3E1E}" destId="{C88DDC1A-CFCB-40EF-B36A-78BD035B60EF}" srcOrd="0" destOrd="0" presId="urn:microsoft.com/office/officeart/2005/8/layout/cycle4"/>
    <dgm:cxn modelId="{5F7E5515-87D9-4204-8DDF-D78878051364}" type="presOf" srcId="{F37DBD2E-15F1-4D85-9AAA-7AE0394DC8BC}" destId="{7A9C15B2-44C4-4A22-BA4C-CB8DE2AB7F16}" srcOrd="0" destOrd="0" presId="urn:microsoft.com/office/officeart/2005/8/layout/cycle4"/>
    <dgm:cxn modelId="{EFB93D17-0F49-4146-9B4A-74658F1C9243}" srcId="{E60B70D4-B302-41A6-8EF1-93AC935E6CC1}" destId="{752A8334-E96D-4831-B0D4-D65EA975039C}" srcOrd="2" destOrd="0" parTransId="{4249F60E-0F12-4BC2-9163-FFCF4F921020}" sibTransId="{BE5D5E76-D228-42B9-9BE1-35C2133FAAA7}"/>
    <dgm:cxn modelId="{87F8E017-15F8-429A-B9EA-1BA18821FB31}" type="presOf" srcId="{E60B70D4-B302-41A6-8EF1-93AC935E6CC1}" destId="{BCE3183B-E8AF-4021-9B75-ED96D60278E7}" srcOrd="0" destOrd="0" presId="urn:microsoft.com/office/officeart/2005/8/layout/cycle4"/>
    <dgm:cxn modelId="{11EB292B-6164-4CF4-9EA0-CF5473932ABA}" type="presOf" srcId="{2FEF49A2-289F-41FB-A41E-D1322A6FF686}" destId="{2984D39E-B933-4493-A9D9-C1DCA5B5BB6B}" srcOrd="0" destOrd="4" presId="urn:microsoft.com/office/officeart/2005/8/layout/cycle4"/>
    <dgm:cxn modelId="{9D06E82F-E2ED-4EC1-B442-4C7BAD38B4F5}" srcId="{F37DBD2E-15F1-4D85-9AAA-7AE0394DC8BC}" destId="{546B0248-E790-4D62-A559-0839A4593E07}" srcOrd="0" destOrd="0" parTransId="{DA1A6C98-48C2-4F1F-9F83-BD3FF695DE05}" sibTransId="{3464E802-2F6B-49C5-A89A-6EAC6FD0E398}"/>
    <dgm:cxn modelId="{D7EC073E-B669-4E23-BBE1-786786D5A374}" type="presOf" srcId="{36D1A0F2-A8FE-4ED0-8386-927E5B77D25C}" destId="{25AD8B15-C101-4D1E-A5B5-B30658B49757}" srcOrd="1" destOrd="1" presId="urn:microsoft.com/office/officeart/2005/8/layout/cycle4"/>
    <dgm:cxn modelId="{17ED233E-B53B-43AB-B23B-9DCA03E554AB}" srcId="{7B5E15CE-EFB0-4165-A390-167882D7E42E}" destId="{2FEF49A2-289F-41FB-A41E-D1322A6FF686}" srcOrd="4" destOrd="0" parTransId="{E227D290-F7B1-4EF5-9396-D1F46484411D}" sibTransId="{4C40DBEB-FEF8-4C11-8342-9AE0ECB95B3A}"/>
    <dgm:cxn modelId="{6BBD3D63-C6D1-4E08-9E6F-2ED5CF155F6F}" type="presOf" srcId="{922DE9FD-8F6D-4EC3-A8A2-E715F795941F}" destId="{2984D39E-B933-4493-A9D9-C1DCA5B5BB6B}" srcOrd="0" destOrd="2" presId="urn:microsoft.com/office/officeart/2005/8/layout/cycle4"/>
    <dgm:cxn modelId="{1FEA7065-9BB2-4402-A4D5-5673A57742AB}" srcId="{7B5E15CE-EFB0-4165-A390-167882D7E42E}" destId="{922DE9FD-8F6D-4EC3-A8A2-E715F795941F}" srcOrd="2" destOrd="0" parTransId="{3995B376-CFE0-49B8-83B3-75E86996DEB8}" sibTransId="{7AB1322F-9D55-4CD4-A518-646994327991}"/>
    <dgm:cxn modelId="{1EAFF147-A018-4CBE-93F1-2ADA5035BC40}" srcId="{7B5E15CE-EFB0-4165-A390-167882D7E42E}" destId="{6C589962-5B08-4DD8-A577-8B70F8705558}" srcOrd="0" destOrd="0" parTransId="{FED0BF41-E526-46B5-A4D1-6E921B5B0CD4}" sibTransId="{D6A7CDF5-52A2-4500-BEE2-6F0DB3A21F19}"/>
    <dgm:cxn modelId="{BD837C4B-0767-4E68-8B4B-9DBA95EFEBD3}" type="presOf" srcId="{361EA405-0151-4005-A368-7D48F4CE4AC3}" destId="{E0928910-3AB9-4870-850D-5C5DC480E596}" srcOrd="0" destOrd="0" presId="urn:microsoft.com/office/officeart/2005/8/layout/cycle4"/>
    <dgm:cxn modelId="{BE2C1E4E-73FA-4E9F-A93B-FEB465A52459}" type="presOf" srcId="{7B5E15CE-EFB0-4165-A390-167882D7E42E}" destId="{84E7E13E-C75A-4686-AB8E-7EF19089BF43}" srcOrd="0" destOrd="0" presId="urn:microsoft.com/office/officeart/2005/8/layout/cycle4"/>
    <dgm:cxn modelId="{3AEB4B4F-12B3-4FB0-8F55-8F71D45AFD6B}" type="presOf" srcId="{2B40D89D-FA67-432C-A884-401EA154A0D6}" destId="{4055ACC4-0D1A-452E-BE8E-993F42C4AC0E}" srcOrd="1" destOrd="1" presId="urn:microsoft.com/office/officeart/2005/8/layout/cycle4"/>
    <dgm:cxn modelId="{3003FC75-3F10-41B9-B604-8B8510CDE6D8}" srcId="{E2DADC59-1F51-40CB-B14F-0F67008BCB35}" destId="{47FA7942-624E-42D5-8695-439F002F3E1E}" srcOrd="2" destOrd="0" parTransId="{92CD8126-29B8-44B5-9802-B3E027208AEA}" sibTransId="{77B1ADD3-667E-4AFF-A1E2-A97D8DAD21C3}"/>
    <dgm:cxn modelId="{C4A0D679-F8C4-48B5-AB09-758D71D68954}" type="presOf" srcId="{E2DADC59-1F51-40CB-B14F-0F67008BCB35}" destId="{0D49110B-B728-4E87-BBD5-1435218E8B4B}" srcOrd="0" destOrd="0" presId="urn:microsoft.com/office/officeart/2005/8/layout/cycle4"/>
    <dgm:cxn modelId="{D85CB57F-4286-4ACC-92E0-89983C3E6978}" type="presOf" srcId="{546B0248-E790-4D62-A559-0839A4593E07}" destId="{1ED5D410-3066-44DD-BADA-6BB89CF4C386}" srcOrd="0" destOrd="0" presId="urn:microsoft.com/office/officeart/2005/8/layout/cycle4"/>
    <dgm:cxn modelId="{38EAB18B-0BEB-445C-854E-922A5F2A3B5A}" type="presOf" srcId="{A29077F4-4312-45F2-BC20-087C74220966}" destId="{25AD8B15-C101-4D1E-A5B5-B30658B49757}" srcOrd="1" destOrd="5" presId="urn:microsoft.com/office/officeart/2005/8/layout/cycle4"/>
    <dgm:cxn modelId="{26C03B8D-05A9-4D5C-B69E-13285A2DBCEF}" srcId="{E60B70D4-B302-41A6-8EF1-93AC935E6CC1}" destId="{2B40D89D-FA67-432C-A884-401EA154A0D6}" srcOrd="1" destOrd="0" parTransId="{DFE4A798-A8B1-416B-98BE-7DD3A8E7806B}" sibTransId="{FD2BF2CA-28E9-4D57-A006-4A40A5D859CF}"/>
    <dgm:cxn modelId="{8DA87995-6349-4121-9FB4-ED1A4A45C2F8}" srcId="{7B5E15CE-EFB0-4165-A390-167882D7E42E}" destId="{36D1A0F2-A8FE-4ED0-8386-927E5B77D25C}" srcOrd="1" destOrd="0" parTransId="{F271ED17-F650-4343-BC47-ED881C8ACC51}" sibTransId="{E2AF50C8-4859-4598-B2F4-5390AB14CD51}"/>
    <dgm:cxn modelId="{56BA7298-51E4-4A6C-99C0-14E5C5EF62B0}" type="presOf" srcId="{752A8334-E96D-4831-B0D4-D65EA975039C}" destId="{E0928910-3AB9-4870-850D-5C5DC480E596}" srcOrd="0" destOrd="2" presId="urn:microsoft.com/office/officeart/2005/8/layout/cycle4"/>
    <dgm:cxn modelId="{30EE90AA-0BEC-425B-8B6C-BFD249688F82}" type="presOf" srcId="{6C589962-5B08-4DD8-A577-8B70F8705558}" destId="{2984D39E-B933-4493-A9D9-C1DCA5B5BB6B}" srcOrd="0" destOrd="0" presId="urn:microsoft.com/office/officeart/2005/8/layout/cycle4"/>
    <dgm:cxn modelId="{FA988CAB-82C3-4CA0-8D4C-30508A02D798}" type="presOf" srcId="{2B40D89D-FA67-432C-A884-401EA154A0D6}" destId="{E0928910-3AB9-4870-850D-5C5DC480E596}" srcOrd="0" destOrd="1" presId="urn:microsoft.com/office/officeart/2005/8/layout/cycle4"/>
    <dgm:cxn modelId="{6F7CB4AF-FED8-43B7-8B55-0FC791F028F9}" type="presOf" srcId="{46F675FB-53A2-4E05-8868-1EEEA21A641B}" destId="{88806476-EECA-4769-97EA-F48DACFBE690}" srcOrd="1" destOrd="0" presId="urn:microsoft.com/office/officeart/2005/8/layout/cycle4"/>
    <dgm:cxn modelId="{43CB8EB5-9505-47B9-A850-603BE8B914C4}" type="presOf" srcId="{46F675FB-53A2-4E05-8868-1EEEA21A641B}" destId="{77024773-583F-4C3B-8151-67C8326EF13B}" srcOrd="0" destOrd="0" presId="urn:microsoft.com/office/officeart/2005/8/layout/cycle4"/>
    <dgm:cxn modelId="{85578BB8-51C6-495B-BE46-BBC91F289A39}" type="presOf" srcId="{0A95E5A3-0BBE-48F3-97DA-74384AA7C031}" destId="{2984D39E-B933-4493-A9D9-C1DCA5B5BB6B}" srcOrd="0" destOrd="3" presId="urn:microsoft.com/office/officeart/2005/8/layout/cycle4"/>
    <dgm:cxn modelId="{BF1979BA-B243-45D4-881E-FFD2C4947442}" type="presOf" srcId="{2FEF49A2-289F-41FB-A41E-D1322A6FF686}" destId="{25AD8B15-C101-4D1E-A5B5-B30658B49757}" srcOrd="1" destOrd="4" presId="urn:microsoft.com/office/officeart/2005/8/layout/cycle4"/>
    <dgm:cxn modelId="{DDE3C6BC-BCA7-4771-BF3C-674DD1086D57}" srcId="{E2DADC59-1F51-40CB-B14F-0F67008BCB35}" destId="{E60B70D4-B302-41A6-8EF1-93AC935E6CC1}" srcOrd="3" destOrd="0" parTransId="{902F704F-23C7-4405-84DC-334FFDE4E92E}" sibTransId="{B64F5052-E70F-4F33-B34B-0455B2803A49}"/>
    <dgm:cxn modelId="{E45EACBD-1BE3-4810-8292-A6F6F55F872D}" type="presOf" srcId="{A29077F4-4312-45F2-BC20-087C74220966}" destId="{2984D39E-B933-4493-A9D9-C1DCA5B5BB6B}" srcOrd="0" destOrd="5" presId="urn:microsoft.com/office/officeart/2005/8/layout/cycle4"/>
    <dgm:cxn modelId="{5FEA57C5-949E-4D5F-9221-CC7D8806D4C7}" type="presOf" srcId="{0A95E5A3-0BBE-48F3-97DA-74384AA7C031}" destId="{25AD8B15-C101-4D1E-A5B5-B30658B49757}" srcOrd="1" destOrd="3" presId="urn:microsoft.com/office/officeart/2005/8/layout/cycle4"/>
    <dgm:cxn modelId="{BA6930D7-FB4A-4D3E-884C-9353A0199D9C}" srcId="{47FA7942-624E-42D5-8695-439F002F3E1E}" destId="{46F675FB-53A2-4E05-8868-1EEEA21A641B}" srcOrd="0" destOrd="0" parTransId="{FF0C0D2A-01FE-457E-B20C-5400C0D63145}" sibTransId="{F621063D-E759-4DB9-88D0-6967535CF41C}"/>
    <dgm:cxn modelId="{257242DA-0B2C-4847-B635-5AADCD58D2A3}" srcId="{E2DADC59-1F51-40CB-B14F-0F67008BCB35}" destId="{F37DBD2E-15F1-4D85-9AAA-7AE0394DC8BC}" srcOrd="0" destOrd="0" parTransId="{64BABC51-B160-4826-8E20-F62C9DDB2949}" sibTransId="{8BAB7A9C-C67B-4EE9-98D4-5A4047ADB574}"/>
    <dgm:cxn modelId="{33925DE8-D87F-492F-8F43-93302F95BC4B}" srcId="{E2DADC59-1F51-40CB-B14F-0F67008BCB35}" destId="{7B5E15CE-EFB0-4165-A390-167882D7E42E}" srcOrd="1" destOrd="0" parTransId="{2868E8DB-DD73-4EEF-83A5-DBB58D64CF30}" sibTransId="{42A0801A-568D-408B-BC67-C67421D88379}"/>
    <dgm:cxn modelId="{5C60C2EF-72F5-40AD-B1FF-156D93464E4D}" type="presOf" srcId="{36D1A0F2-A8FE-4ED0-8386-927E5B77D25C}" destId="{2984D39E-B933-4493-A9D9-C1DCA5B5BB6B}" srcOrd="0" destOrd="1" presId="urn:microsoft.com/office/officeart/2005/8/layout/cycle4"/>
    <dgm:cxn modelId="{3ED042F4-B1C7-439C-881A-59AD87AB6FDD}" type="presOf" srcId="{752A8334-E96D-4831-B0D4-D65EA975039C}" destId="{4055ACC4-0D1A-452E-BE8E-993F42C4AC0E}" srcOrd="1" destOrd="2" presId="urn:microsoft.com/office/officeart/2005/8/layout/cycle4"/>
    <dgm:cxn modelId="{D90529F5-79D8-49B6-90D2-733391F3B828}" type="presOf" srcId="{6C589962-5B08-4DD8-A577-8B70F8705558}" destId="{25AD8B15-C101-4D1E-A5B5-B30658B49757}" srcOrd="1" destOrd="0" presId="urn:microsoft.com/office/officeart/2005/8/layout/cycle4"/>
    <dgm:cxn modelId="{65037EF6-B45A-485E-98E5-2A37AECE9A39}" type="presOf" srcId="{922DE9FD-8F6D-4EC3-A8A2-E715F795941F}" destId="{25AD8B15-C101-4D1E-A5B5-B30658B49757}" srcOrd="1" destOrd="2" presId="urn:microsoft.com/office/officeart/2005/8/layout/cycle4"/>
    <dgm:cxn modelId="{123D4BFB-55E5-42CC-A07F-894BA0F1B927}" srcId="{7B5E15CE-EFB0-4165-A390-167882D7E42E}" destId="{0A95E5A3-0BBE-48F3-97DA-74384AA7C031}" srcOrd="3" destOrd="0" parTransId="{29194F30-0EF6-4279-A07D-CDD4E56FF88C}" sibTransId="{2C97B82A-4E6D-44FF-B901-283C25256D89}"/>
    <dgm:cxn modelId="{82255DFD-9690-443B-8478-C24CCEEB58FB}" srcId="{E60B70D4-B302-41A6-8EF1-93AC935E6CC1}" destId="{361EA405-0151-4005-A368-7D48F4CE4AC3}" srcOrd="0" destOrd="0" parTransId="{6606AE83-B038-4E6B-806F-25F12FAB3456}" sibTransId="{B28F4EF5-C3D3-4594-A225-4185714FBD8A}"/>
    <dgm:cxn modelId="{B0B5161C-C0C1-4FDA-9AB2-4C58A941282C}" type="presParOf" srcId="{0D49110B-B728-4E87-BBD5-1435218E8B4B}" destId="{608350FB-95FD-476A-8075-D939C23BF375}" srcOrd="0" destOrd="0" presId="urn:microsoft.com/office/officeart/2005/8/layout/cycle4"/>
    <dgm:cxn modelId="{02A7BCEA-54F9-451E-9901-349EF18FC6AD}" type="presParOf" srcId="{608350FB-95FD-476A-8075-D939C23BF375}" destId="{62F95E29-FEA1-484C-8497-72540704FD51}" srcOrd="0" destOrd="0" presId="urn:microsoft.com/office/officeart/2005/8/layout/cycle4"/>
    <dgm:cxn modelId="{DEE3DADE-0380-455F-874E-16D274A6C2E1}" type="presParOf" srcId="{62F95E29-FEA1-484C-8497-72540704FD51}" destId="{1ED5D410-3066-44DD-BADA-6BB89CF4C386}" srcOrd="0" destOrd="0" presId="urn:microsoft.com/office/officeart/2005/8/layout/cycle4"/>
    <dgm:cxn modelId="{D0EE6397-DF71-4D6E-87C8-56893928259D}" type="presParOf" srcId="{62F95E29-FEA1-484C-8497-72540704FD51}" destId="{6B0FE3CF-2ADC-4345-AF45-6DBF42AC7405}" srcOrd="1" destOrd="0" presId="urn:microsoft.com/office/officeart/2005/8/layout/cycle4"/>
    <dgm:cxn modelId="{D18C89B3-6990-4F1F-9E5E-DA2B89F2A3EB}" type="presParOf" srcId="{608350FB-95FD-476A-8075-D939C23BF375}" destId="{5E23C6D7-AC4D-41B3-84A3-A43AC4C8F57A}" srcOrd="1" destOrd="0" presId="urn:microsoft.com/office/officeart/2005/8/layout/cycle4"/>
    <dgm:cxn modelId="{00FF4ECC-0D2D-4658-B5B1-9E327C25B10E}" type="presParOf" srcId="{5E23C6D7-AC4D-41B3-84A3-A43AC4C8F57A}" destId="{2984D39E-B933-4493-A9D9-C1DCA5B5BB6B}" srcOrd="0" destOrd="0" presId="urn:microsoft.com/office/officeart/2005/8/layout/cycle4"/>
    <dgm:cxn modelId="{73A58371-925D-4B3B-BD63-90986913299D}" type="presParOf" srcId="{5E23C6D7-AC4D-41B3-84A3-A43AC4C8F57A}" destId="{25AD8B15-C101-4D1E-A5B5-B30658B49757}" srcOrd="1" destOrd="0" presId="urn:microsoft.com/office/officeart/2005/8/layout/cycle4"/>
    <dgm:cxn modelId="{1B3A58F2-E0B4-4FDA-8A2D-886F4BC4BC6C}" type="presParOf" srcId="{608350FB-95FD-476A-8075-D939C23BF375}" destId="{2EEE7E58-5620-4C05-A226-EDAB73389E9F}" srcOrd="2" destOrd="0" presId="urn:microsoft.com/office/officeart/2005/8/layout/cycle4"/>
    <dgm:cxn modelId="{E11322DA-60D2-44C3-9F80-5B30635A4CFA}" type="presParOf" srcId="{2EEE7E58-5620-4C05-A226-EDAB73389E9F}" destId="{77024773-583F-4C3B-8151-67C8326EF13B}" srcOrd="0" destOrd="0" presId="urn:microsoft.com/office/officeart/2005/8/layout/cycle4"/>
    <dgm:cxn modelId="{E2ABC430-3CBA-46D8-95F3-CC66CCCD9800}" type="presParOf" srcId="{2EEE7E58-5620-4C05-A226-EDAB73389E9F}" destId="{88806476-EECA-4769-97EA-F48DACFBE690}" srcOrd="1" destOrd="0" presId="urn:microsoft.com/office/officeart/2005/8/layout/cycle4"/>
    <dgm:cxn modelId="{5E66B589-4A47-4170-9562-25778C5C4408}" type="presParOf" srcId="{608350FB-95FD-476A-8075-D939C23BF375}" destId="{97D80BD9-3878-4E18-9966-0C590333FBF6}" srcOrd="3" destOrd="0" presId="urn:microsoft.com/office/officeart/2005/8/layout/cycle4"/>
    <dgm:cxn modelId="{4BAA1F13-6514-4867-BC0D-9453EF630A02}" type="presParOf" srcId="{97D80BD9-3878-4E18-9966-0C590333FBF6}" destId="{E0928910-3AB9-4870-850D-5C5DC480E596}" srcOrd="0" destOrd="0" presId="urn:microsoft.com/office/officeart/2005/8/layout/cycle4"/>
    <dgm:cxn modelId="{62C9B4B7-AC7F-4A7D-8002-B79F44259158}" type="presParOf" srcId="{97D80BD9-3878-4E18-9966-0C590333FBF6}" destId="{4055ACC4-0D1A-452E-BE8E-993F42C4AC0E}" srcOrd="1" destOrd="0" presId="urn:microsoft.com/office/officeart/2005/8/layout/cycle4"/>
    <dgm:cxn modelId="{65D8FDE5-4779-4EB4-B04D-4591F0017C7F}" type="presParOf" srcId="{608350FB-95FD-476A-8075-D939C23BF375}" destId="{14B92D5B-BA7F-490A-BBE5-6D6F7BBDD0C3}" srcOrd="4" destOrd="0" presId="urn:microsoft.com/office/officeart/2005/8/layout/cycle4"/>
    <dgm:cxn modelId="{A0AFB089-E34C-4546-8F03-BC364201C57B}" type="presParOf" srcId="{0D49110B-B728-4E87-BBD5-1435218E8B4B}" destId="{BA6A509A-D68B-49E8-81E5-0DFF9A3D17CF}" srcOrd="1" destOrd="0" presId="urn:microsoft.com/office/officeart/2005/8/layout/cycle4"/>
    <dgm:cxn modelId="{EC858E20-0103-4DFA-B04A-41562D8D61E2}" type="presParOf" srcId="{BA6A509A-D68B-49E8-81E5-0DFF9A3D17CF}" destId="{7A9C15B2-44C4-4A22-BA4C-CB8DE2AB7F16}" srcOrd="0" destOrd="0" presId="urn:microsoft.com/office/officeart/2005/8/layout/cycle4"/>
    <dgm:cxn modelId="{8FA1D9A7-A3B0-49FD-B39F-F88ECA603340}" type="presParOf" srcId="{BA6A509A-D68B-49E8-81E5-0DFF9A3D17CF}" destId="{84E7E13E-C75A-4686-AB8E-7EF19089BF43}" srcOrd="1" destOrd="0" presId="urn:microsoft.com/office/officeart/2005/8/layout/cycle4"/>
    <dgm:cxn modelId="{0281CA5D-C1C5-493B-9A24-435EB27E9791}" type="presParOf" srcId="{BA6A509A-D68B-49E8-81E5-0DFF9A3D17CF}" destId="{C88DDC1A-CFCB-40EF-B36A-78BD035B60EF}" srcOrd="2" destOrd="0" presId="urn:microsoft.com/office/officeart/2005/8/layout/cycle4"/>
    <dgm:cxn modelId="{2551D9A2-B546-4654-ADF4-FEB1A135017B}" type="presParOf" srcId="{BA6A509A-D68B-49E8-81E5-0DFF9A3D17CF}" destId="{BCE3183B-E8AF-4021-9B75-ED96D60278E7}" srcOrd="3" destOrd="0" presId="urn:microsoft.com/office/officeart/2005/8/layout/cycle4"/>
    <dgm:cxn modelId="{17663452-67E9-4F00-9102-1C3E5E2263CB}" type="presParOf" srcId="{BA6A509A-D68B-49E8-81E5-0DFF9A3D17CF}" destId="{B193A32C-3A59-4338-9602-3B9BBEF05468}" srcOrd="4" destOrd="0" presId="urn:microsoft.com/office/officeart/2005/8/layout/cycle4"/>
    <dgm:cxn modelId="{0715C2C3-3C31-426A-BB9F-11B0F106AC5F}" type="presParOf" srcId="{0D49110B-B728-4E87-BBD5-1435218E8B4B}" destId="{3C4EB1CA-CF3F-4C4D-A660-66BE45765A36}" srcOrd="2" destOrd="0" presId="urn:microsoft.com/office/officeart/2005/8/layout/cycle4"/>
    <dgm:cxn modelId="{D8B1144A-1375-4A6E-90E7-DCAC6BA1D61A}" type="presParOf" srcId="{0D49110B-B728-4E87-BBD5-1435218E8B4B}" destId="{EBAB3B5E-9CC9-40AA-A040-2CBC3314638A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8555166-228D-4B9E-8381-A24B5ACE7D08}" type="doc">
      <dgm:prSet loTypeId="urn:microsoft.com/office/officeart/2005/8/layout/orgChart1" loCatId="hierarchy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s-CL"/>
        </a:p>
      </dgm:t>
    </dgm:pt>
    <dgm:pt modelId="{C4C7339B-83B6-4D26-8E01-3953B93210F9}">
      <dgm:prSet phldrT="[Texto]"/>
      <dgm:spPr>
        <a:solidFill>
          <a:srgbClr val="FB821E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Protección</a:t>
          </a:r>
        </a:p>
      </dgm:t>
    </dgm:pt>
    <dgm:pt modelId="{8BA8C51D-64C5-4022-941C-FC7D51B8042A}" type="parTrans" cxnId="{622449A7-E9FE-406F-B5F2-D90AA4AF5782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9D65DC5E-6CEB-4678-B01E-A3F357AEECBC}" type="sibTrans" cxnId="{622449A7-E9FE-406F-B5F2-D90AA4AF5782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80AD8363-59CC-4ECF-B17E-85F637939D97}">
      <dgm:prSet phldrT="[Texto]"/>
      <dgm:spPr>
        <a:solidFill>
          <a:srgbClr val="BFB800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Formación</a:t>
          </a:r>
        </a:p>
      </dgm:t>
    </dgm:pt>
    <dgm:pt modelId="{B19757D3-355C-4BC0-8735-C4E5B9693C5B}" type="parTrans" cxnId="{3C1CB233-ADFE-4C37-AF94-755BE1AB2468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11D07AD1-B260-41DE-88DE-080B5E0F1EE0}" type="sibTrans" cxnId="{3C1CB233-ADFE-4C37-AF94-755BE1AB2468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8BEBC7FB-DCCC-46CD-AEE5-B6C32092949E}">
      <dgm:prSet phldrT="[Texto]"/>
      <dgm:spPr>
        <a:solidFill>
          <a:srgbClr val="BFB800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Central</a:t>
          </a:r>
        </a:p>
      </dgm:t>
    </dgm:pt>
    <dgm:pt modelId="{BC379174-E5FB-4556-8149-04D90DF007DB}" type="parTrans" cxnId="{7DD2AC09-656C-4B2E-B4C9-65BAB4A2E1C0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4518C53E-6C6D-4ECC-B5BD-AE332CD53242}" type="sibTrans" cxnId="{7DD2AC09-656C-4B2E-B4C9-65BAB4A2E1C0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0E7E9117-81EF-47F2-A190-3A8F223026DC}">
      <dgm:prSet phldrT="[Texto]"/>
      <dgm:spPr>
        <a:solidFill>
          <a:srgbClr val="BFB800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Combate</a:t>
          </a:r>
        </a:p>
      </dgm:t>
    </dgm:pt>
    <dgm:pt modelId="{9384EF75-1B7A-4C23-AAF8-E9A38A67F0ED}" type="parTrans" cxnId="{8972B44E-C0E8-4A0D-A8B8-0CADC055A77A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D83199B9-B803-42AE-9E76-1120A76C3B0D}" type="sibTrans" cxnId="{8972B44E-C0E8-4A0D-A8B8-0CADC055A77A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C1D4027F-B095-4A85-A450-9432A23F7B1B}">
      <dgm:prSet phldrT="[Texto]"/>
      <dgm:spPr>
        <a:solidFill>
          <a:srgbClr val="BFB800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Prevención</a:t>
          </a:r>
        </a:p>
      </dgm:t>
    </dgm:pt>
    <dgm:pt modelId="{576F6315-99CA-43F7-BA35-090299126B7B}" type="parTrans" cxnId="{B1062682-2011-4BDE-8B3C-4A1CEF382E50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28D8E872-6BCF-4745-A9B2-EB33BD052117}" type="sibTrans" cxnId="{B1062682-2011-4BDE-8B3C-4A1CEF382E50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BE6A6293-554A-4DBA-933E-925B1799E536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Manejo Silvícola</a:t>
          </a:r>
        </a:p>
      </dgm:t>
    </dgm:pt>
    <dgm:pt modelId="{8739DE3A-D7CA-421D-A399-42CB7FE1E0FB}" type="parTrans" cxnId="{C8915917-5B2E-494A-A660-167860974AFF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06595F46-3766-4C58-BD42-1BE62E72D2DA}" type="sibTrans" cxnId="{C8915917-5B2E-494A-A660-167860974AFF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B53B4AAC-E0CB-4055-98CC-D6CD5D796A90}">
      <dgm:prSet phldrT="[Texto]"/>
      <dgm:spPr>
        <a:solidFill>
          <a:srgbClr val="A6A6A6"/>
        </a:solidFill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Comunidades</a:t>
          </a:r>
        </a:p>
      </dgm:t>
    </dgm:pt>
    <dgm:pt modelId="{0148E494-E31A-4651-B430-18FD9172817B}" type="parTrans" cxnId="{3F5414B1-DBDC-4EAA-89CE-07418BDE0078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F846447A-64BD-4AD1-93DB-B46D1FA87AF2}" type="sibTrans" cxnId="{3F5414B1-DBDC-4EAA-89CE-07418BDE0078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DEB36DA2-6827-4607-BE47-8F97317C1FB3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Entrenamiento</a:t>
          </a:r>
        </a:p>
      </dgm:t>
    </dgm:pt>
    <dgm:pt modelId="{37F02310-E647-427C-B529-EED7C39E33AC}" type="parTrans" cxnId="{965EEF6F-4997-4424-9222-E750F2A802B4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9FBC8B01-76ED-43C5-852C-7C61C7555EC2}" type="sibTrans" cxnId="{965EEF6F-4997-4424-9222-E750F2A802B4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E2FEFC92-3FC7-4BF5-83C9-44E87C7D2394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Despacho</a:t>
          </a:r>
        </a:p>
      </dgm:t>
    </dgm:pt>
    <dgm:pt modelId="{5CFB201D-7146-4AF2-9E73-F7AB78E814DB}" type="parTrans" cxnId="{909DC669-AAEF-46AF-9DCA-21313E935771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5511D986-D79B-4E8C-A5CF-4007D164B943}" type="sibTrans" cxnId="{909DC669-AAEF-46AF-9DCA-21313E935771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7CDDC5F2-D378-49D2-AA8D-235164CB9DC9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Simulación</a:t>
          </a:r>
        </a:p>
      </dgm:t>
    </dgm:pt>
    <dgm:pt modelId="{75DA4344-7CF5-4120-837D-BC24F1C5AE01}" type="parTrans" cxnId="{BB2B05DF-18E2-4D1C-8AF9-034703B691D5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2B832B89-BEF4-42ED-8AA8-2B6116467ED9}" type="sibTrans" cxnId="{BB2B05DF-18E2-4D1C-8AF9-034703B691D5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4581F850-6024-4F7C-8BD0-5900A395DC38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Aéreo</a:t>
          </a:r>
        </a:p>
      </dgm:t>
    </dgm:pt>
    <dgm:pt modelId="{F91DC1CF-D399-4FA7-A869-09DA8292CF31}" type="parTrans" cxnId="{165CCFA9-0F25-4CDA-9B25-A7747851AE53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0ECAE49F-A8A1-415F-A56E-4F362B521C0E}" type="sibTrans" cxnId="{165CCFA9-0F25-4CDA-9B25-A7747851AE53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C838BEB0-0598-4A4F-B3A2-9DE6C663C30E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Terrestre</a:t>
          </a:r>
        </a:p>
      </dgm:t>
    </dgm:pt>
    <dgm:pt modelId="{B4B9801E-8CE0-4A06-B9EB-B9854E323A7A}" type="parTrans" cxnId="{AB71EE2F-9538-4B3F-A2C3-36E512BF4565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DADBC76A-F51F-484C-BCAE-0A3E875E3886}" type="sibTrans" cxnId="{AB71EE2F-9538-4B3F-A2C3-36E512BF4565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9FBAFCC2-1088-4C38-BF15-B0CDDAFF3673}">
      <dgm:prSet phldrT="[Texto]"/>
      <dgm:spPr>
        <a:solidFill>
          <a:srgbClr val="BFB800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Detección</a:t>
          </a:r>
        </a:p>
      </dgm:t>
    </dgm:pt>
    <dgm:pt modelId="{A5F7E52B-2467-4FAB-B962-C1F535D92A5C}" type="parTrans" cxnId="{22C893AA-4E72-4FC2-BDB1-2DF5A9BD76F4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1F6EED45-576A-4B02-B051-28E1A13817B9}" type="sibTrans" cxnId="{22C893AA-4E72-4FC2-BDB1-2DF5A9BD76F4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827C07CF-4222-4A32-B161-8996FECE6C44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Satélite</a:t>
          </a:r>
        </a:p>
      </dgm:t>
    </dgm:pt>
    <dgm:pt modelId="{C5B36C4E-7F47-4C84-8F09-782180D818A6}" type="parTrans" cxnId="{F4319911-476F-4063-AA37-8490AF218D71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BA13CEA4-5BE0-44BC-8AE9-91325B64F3AA}" type="sibTrans" cxnId="{F4319911-476F-4063-AA37-8490AF218D71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93C29F5F-CB09-484B-AB87-8AF8594D2F0F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Procedimientos</a:t>
          </a:r>
        </a:p>
      </dgm:t>
    </dgm:pt>
    <dgm:pt modelId="{4363DDC0-C129-4E07-AF1D-66E3F794B307}" type="parTrans" cxnId="{AB7C1238-8D36-4296-8958-6D3632EB9ABD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2A041710-37ED-4549-A61B-51EA7D9A98E4}" type="sibTrans" cxnId="{AB7C1238-8D36-4296-8958-6D3632EB9ABD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BF2BFED7-EDDB-455A-B250-A8A78271B24D}">
      <dgm:prSet phldrT="[Texto]"/>
      <dgm:spPr>
        <a:solidFill>
          <a:srgbClr val="A6A6A6"/>
        </a:solidFill>
        <a:ln>
          <a:solidFill>
            <a:srgbClr val="696158"/>
          </a:solidFill>
        </a:ln>
      </dgm:spPr>
      <dgm:t>
        <a:bodyPr/>
        <a:lstStyle/>
        <a:p>
          <a:r>
            <a:rPr lang="es-CL" dirty="0">
              <a:solidFill>
                <a:schemeClr val="bg1"/>
              </a:solidFill>
              <a:latin typeface="Lato" panose="020F0502020204030203" pitchFamily="34" charset="0"/>
            </a:rPr>
            <a:t>Cámaras</a:t>
          </a:r>
        </a:p>
      </dgm:t>
    </dgm:pt>
    <dgm:pt modelId="{8F68F951-66F9-4F87-8FF5-731A69270241}" type="sibTrans" cxnId="{CEC45CA7-DA41-401E-8FD9-761B25F6E50B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51039144-FB0D-4CC2-B612-EAC2783C016C}" type="parTrans" cxnId="{CEC45CA7-DA41-401E-8FD9-761B25F6E50B}">
      <dgm:prSet/>
      <dgm:spPr/>
      <dgm:t>
        <a:bodyPr/>
        <a:lstStyle/>
        <a:p>
          <a:endParaRPr lang="es-CL">
            <a:solidFill>
              <a:schemeClr val="bg1"/>
            </a:solidFill>
            <a:latin typeface="Lato" panose="020F0502020204030203" pitchFamily="34" charset="0"/>
          </a:endParaRPr>
        </a:p>
      </dgm:t>
    </dgm:pt>
    <dgm:pt modelId="{AC6970D9-210B-4CCB-B87F-38F054CB42CA}" type="pres">
      <dgm:prSet presAssocID="{08555166-228D-4B9E-8381-A24B5ACE7D0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973D7E4-469D-4B77-8DC3-E5988A4FECB2}" type="pres">
      <dgm:prSet presAssocID="{C4C7339B-83B6-4D26-8E01-3953B93210F9}" presName="hierRoot1" presStyleCnt="0">
        <dgm:presLayoutVars>
          <dgm:hierBranch val="init"/>
        </dgm:presLayoutVars>
      </dgm:prSet>
      <dgm:spPr/>
    </dgm:pt>
    <dgm:pt modelId="{D2F18308-9DFC-4BF1-B926-0CBE14AF39C0}" type="pres">
      <dgm:prSet presAssocID="{C4C7339B-83B6-4D26-8E01-3953B93210F9}" presName="rootComposite1" presStyleCnt="0"/>
      <dgm:spPr/>
    </dgm:pt>
    <dgm:pt modelId="{9555D650-9B55-4BA1-AAA1-A1C2C453D763}" type="pres">
      <dgm:prSet presAssocID="{C4C7339B-83B6-4D26-8E01-3953B93210F9}" presName="rootText1" presStyleLbl="node0" presStyleIdx="0" presStyleCnt="1">
        <dgm:presLayoutVars>
          <dgm:chPref val="3"/>
        </dgm:presLayoutVars>
      </dgm:prSet>
      <dgm:spPr/>
    </dgm:pt>
    <dgm:pt modelId="{77620163-D56F-4AEE-B08C-30243DD53061}" type="pres">
      <dgm:prSet presAssocID="{C4C7339B-83B6-4D26-8E01-3953B93210F9}" presName="rootConnector1" presStyleLbl="node1" presStyleIdx="0" presStyleCnt="0"/>
      <dgm:spPr/>
    </dgm:pt>
    <dgm:pt modelId="{7381AE6F-F513-495A-A49A-CF74E16BFCF4}" type="pres">
      <dgm:prSet presAssocID="{C4C7339B-83B6-4D26-8E01-3953B93210F9}" presName="hierChild2" presStyleCnt="0"/>
      <dgm:spPr/>
    </dgm:pt>
    <dgm:pt modelId="{0E2EC6B3-E76B-4B47-AE97-F47056A50480}" type="pres">
      <dgm:prSet presAssocID="{576F6315-99CA-43F7-BA35-090299126B7B}" presName="Name37" presStyleLbl="parChTrans1D2" presStyleIdx="0" presStyleCnt="5"/>
      <dgm:spPr/>
    </dgm:pt>
    <dgm:pt modelId="{3A9DC223-97A9-47DC-8360-723D64A82862}" type="pres">
      <dgm:prSet presAssocID="{C1D4027F-B095-4A85-A450-9432A23F7B1B}" presName="hierRoot2" presStyleCnt="0">
        <dgm:presLayoutVars>
          <dgm:hierBranch val="init"/>
        </dgm:presLayoutVars>
      </dgm:prSet>
      <dgm:spPr/>
    </dgm:pt>
    <dgm:pt modelId="{F2C8D598-529B-40E8-A96C-9BA758ABF685}" type="pres">
      <dgm:prSet presAssocID="{C1D4027F-B095-4A85-A450-9432A23F7B1B}" presName="rootComposite" presStyleCnt="0"/>
      <dgm:spPr/>
    </dgm:pt>
    <dgm:pt modelId="{C6266DDB-3FAA-4ECB-A052-D43B180C189F}" type="pres">
      <dgm:prSet presAssocID="{C1D4027F-B095-4A85-A450-9432A23F7B1B}" presName="rootText" presStyleLbl="node2" presStyleIdx="0" presStyleCnt="5">
        <dgm:presLayoutVars>
          <dgm:chPref val="3"/>
        </dgm:presLayoutVars>
      </dgm:prSet>
      <dgm:spPr/>
    </dgm:pt>
    <dgm:pt modelId="{B54CD0F3-AFF8-4767-BD8D-44B5C97644EA}" type="pres">
      <dgm:prSet presAssocID="{C1D4027F-B095-4A85-A450-9432A23F7B1B}" presName="rootConnector" presStyleLbl="node2" presStyleIdx="0" presStyleCnt="5"/>
      <dgm:spPr/>
    </dgm:pt>
    <dgm:pt modelId="{F8393379-F4DB-4D63-A21A-B1B953E3CBDB}" type="pres">
      <dgm:prSet presAssocID="{C1D4027F-B095-4A85-A450-9432A23F7B1B}" presName="hierChild4" presStyleCnt="0"/>
      <dgm:spPr/>
    </dgm:pt>
    <dgm:pt modelId="{12B0D492-0C60-46D3-A144-C82C5A61CFF0}" type="pres">
      <dgm:prSet presAssocID="{8739DE3A-D7CA-421D-A399-42CB7FE1E0FB}" presName="Name37" presStyleLbl="parChTrans1D3" presStyleIdx="0" presStyleCnt="10"/>
      <dgm:spPr/>
    </dgm:pt>
    <dgm:pt modelId="{89CF543A-C866-46B9-81A4-A790614EF83B}" type="pres">
      <dgm:prSet presAssocID="{BE6A6293-554A-4DBA-933E-925B1799E536}" presName="hierRoot2" presStyleCnt="0">
        <dgm:presLayoutVars>
          <dgm:hierBranch val="init"/>
        </dgm:presLayoutVars>
      </dgm:prSet>
      <dgm:spPr/>
    </dgm:pt>
    <dgm:pt modelId="{B0EB2C28-594B-4A80-9D9A-8BF5BCB2F4D6}" type="pres">
      <dgm:prSet presAssocID="{BE6A6293-554A-4DBA-933E-925B1799E536}" presName="rootComposite" presStyleCnt="0"/>
      <dgm:spPr/>
    </dgm:pt>
    <dgm:pt modelId="{5207BFD0-2A1D-4E92-959B-3809AD0F3B5B}" type="pres">
      <dgm:prSet presAssocID="{BE6A6293-554A-4DBA-933E-925B1799E536}" presName="rootText" presStyleLbl="node3" presStyleIdx="0" presStyleCnt="10">
        <dgm:presLayoutVars>
          <dgm:chPref val="3"/>
        </dgm:presLayoutVars>
      </dgm:prSet>
      <dgm:spPr/>
    </dgm:pt>
    <dgm:pt modelId="{B96B0DA1-B3E9-44CB-89A3-843926E65E8A}" type="pres">
      <dgm:prSet presAssocID="{BE6A6293-554A-4DBA-933E-925B1799E536}" presName="rootConnector" presStyleLbl="node3" presStyleIdx="0" presStyleCnt="10"/>
      <dgm:spPr/>
    </dgm:pt>
    <dgm:pt modelId="{01271767-0046-4AC5-8BCC-C76062805F25}" type="pres">
      <dgm:prSet presAssocID="{BE6A6293-554A-4DBA-933E-925B1799E536}" presName="hierChild4" presStyleCnt="0"/>
      <dgm:spPr/>
    </dgm:pt>
    <dgm:pt modelId="{8249A003-1AAB-4794-8663-71B6781F5166}" type="pres">
      <dgm:prSet presAssocID="{BE6A6293-554A-4DBA-933E-925B1799E536}" presName="hierChild5" presStyleCnt="0"/>
      <dgm:spPr/>
    </dgm:pt>
    <dgm:pt modelId="{20C71240-BFFE-445A-A1ED-4309266B267E}" type="pres">
      <dgm:prSet presAssocID="{0148E494-E31A-4651-B430-18FD9172817B}" presName="Name37" presStyleLbl="parChTrans1D3" presStyleIdx="1" presStyleCnt="10"/>
      <dgm:spPr/>
    </dgm:pt>
    <dgm:pt modelId="{F968AA81-8FD1-4508-BD08-92957B788CF4}" type="pres">
      <dgm:prSet presAssocID="{B53B4AAC-E0CB-4055-98CC-D6CD5D796A90}" presName="hierRoot2" presStyleCnt="0">
        <dgm:presLayoutVars>
          <dgm:hierBranch val="init"/>
        </dgm:presLayoutVars>
      </dgm:prSet>
      <dgm:spPr/>
    </dgm:pt>
    <dgm:pt modelId="{B199FC6B-05B4-42D2-B9EB-A86D0AED1859}" type="pres">
      <dgm:prSet presAssocID="{B53B4AAC-E0CB-4055-98CC-D6CD5D796A90}" presName="rootComposite" presStyleCnt="0"/>
      <dgm:spPr/>
    </dgm:pt>
    <dgm:pt modelId="{BB1DF441-5B8B-439D-8C5D-776D83DECC07}" type="pres">
      <dgm:prSet presAssocID="{B53B4AAC-E0CB-4055-98CC-D6CD5D796A90}" presName="rootText" presStyleLbl="node3" presStyleIdx="1" presStyleCnt="10">
        <dgm:presLayoutVars>
          <dgm:chPref val="3"/>
        </dgm:presLayoutVars>
      </dgm:prSet>
      <dgm:spPr/>
    </dgm:pt>
    <dgm:pt modelId="{D18BBBF0-F18B-4EB4-8A8C-BD76A7472F86}" type="pres">
      <dgm:prSet presAssocID="{B53B4AAC-E0CB-4055-98CC-D6CD5D796A90}" presName="rootConnector" presStyleLbl="node3" presStyleIdx="1" presStyleCnt="10"/>
      <dgm:spPr/>
    </dgm:pt>
    <dgm:pt modelId="{74013851-E117-490E-9319-44E7E6F486C4}" type="pres">
      <dgm:prSet presAssocID="{B53B4AAC-E0CB-4055-98CC-D6CD5D796A90}" presName="hierChild4" presStyleCnt="0"/>
      <dgm:spPr/>
    </dgm:pt>
    <dgm:pt modelId="{506B8B96-99A0-4BEB-AE3D-E1B5A7FB6535}" type="pres">
      <dgm:prSet presAssocID="{B53B4AAC-E0CB-4055-98CC-D6CD5D796A90}" presName="hierChild5" presStyleCnt="0"/>
      <dgm:spPr/>
    </dgm:pt>
    <dgm:pt modelId="{0CC9122C-81DC-4C76-ABB6-3AC14C4737A6}" type="pres">
      <dgm:prSet presAssocID="{C1D4027F-B095-4A85-A450-9432A23F7B1B}" presName="hierChild5" presStyleCnt="0"/>
      <dgm:spPr/>
    </dgm:pt>
    <dgm:pt modelId="{E0A03FAF-9656-41F1-90B6-AA6AB4E03A25}" type="pres">
      <dgm:prSet presAssocID="{B19757D3-355C-4BC0-8735-C4E5B9693C5B}" presName="Name37" presStyleLbl="parChTrans1D2" presStyleIdx="1" presStyleCnt="5"/>
      <dgm:spPr/>
    </dgm:pt>
    <dgm:pt modelId="{DDB5CD23-1685-45F9-9F71-BBD9DC18FA23}" type="pres">
      <dgm:prSet presAssocID="{80AD8363-59CC-4ECF-B17E-85F637939D97}" presName="hierRoot2" presStyleCnt="0">
        <dgm:presLayoutVars>
          <dgm:hierBranch val="init"/>
        </dgm:presLayoutVars>
      </dgm:prSet>
      <dgm:spPr/>
    </dgm:pt>
    <dgm:pt modelId="{0031D6F4-D2B0-4E95-9F43-21D944ADE2F6}" type="pres">
      <dgm:prSet presAssocID="{80AD8363-59CC-4ECF-B17E-85F637939D97}" presName="rootComposite" presStyleCnt="0"/>
      <dgm:spPr/>
    </dgm:pt>
    <dgm:pt modelId="{E502DDEE-2669-4730-BAFC-B1AFDE4BA2CA}" type="pres">
      <dgm:prSet presAssocID="{80AD8363-59CC-4ECF-B17E-85F637939D97}" presName="rootText" presStyleLbl="node2" presStyleIdx="1" presStyleCnt="5">
        <dgm:presLayoutVars>
          <dgm:chPref val="3"/>
        </dgm:presLayoutVars>
      </dgm:prSet>
      <dgm:spPr/>
    </dgm:pt>
    <dgm:pt modelId="{1E0DF881-DB96-4B90-B55A-AE4F59906FB2}" type="pres">
      <dgm:prSet presAssocID="{80AD8363-59CC-4ECF-B17E-85F637939D97}" presName="rootConnector" presStyleLbl="node2" presStyleIdx="1" presStyleCnt="5"/>
      <dgm:spPr/>
    </dgm:pt>
    <dgm:pt modelId="{FDDB75F3-3793-40F0-81F0-B345AC6BAD8D}" type="pres">
      <dgm:prSet presAssocID="{80AD8363-59CC-4ECF-B17E-85F637939D97}" presName="hierChild4" presStyleCnt="0"/>
      <dgm:spPr/>
    </dgm:pt>
    <dgm:pt modelId="{50F9B66E-385D-46AE-8F44-A8DE5EAF269C}" type="pres">
      <dgm:prSet presAssocID="{37F02310-E647-427C-B529-EED7C39E33AC}" presName="Name37" presStyleLbl="parChTrans1D3" presStyleIdx="2" presStyleCnt="10"/>
      <dgm:spPr/>
    </dgm:pt>
    <dgm:pt modelId="{A82C4453-70FF-4E20-97E8-B710A1B1A7CF}" type="pres">
      <dgm:prSet presAssocID="{DEB36DA2-6827-4607-BE47-8F97317C1FB3}" presName="hierRoot2" presStyleCnt="0">
        <dgm:presLayoutVars>
          <dgm:hierBranch val="init"/>
        </dgm:presLayoutVars>
      </dgm:prSet>
      <dgm:spPr/>
    </dgm:pt>
    <dgm:pt modelId="{0900FEC8-87D7-499D-B728-DD1FD25F3C30}" type="pres">
      <dgm:prSet presAssocID="{DEB36DA2-6827-4607-BE47-8F97317C1FB3}" presName="rootComposite" presStyleCnt="0"/>
      <dgm:spPr/>
    </dgm:pt>
    <dgm:pt modelId="{536D7D0F-42D2-4CC2-88CF-7EE0A9140D85}" type="pres">
      <dgm:prSet presAssocID="{DEB36DA2-6827-4607-BE47-8F97317C1FB3}" presName="rootText" presStyleLbl="node3" presStyleIdx="2" presStyleCnt="10">
        <dgm:presLayoutVars>
          <dgm:chPref val="3"/>
        </dgm:presLayoutVars>
      </dgm:prSet>
      <dgm:spPr/>
    </dgm:pt>
    <dgm:pt modelId="{170C9485-8281-4012-8175-0034C94BA4A8}" type="pres">
      <dgm:prSet presAssocID="{DEB36DA2-6827-4607-BE47-8F97317C1FB3}" presName="rootConnector" presStyleLbl="node3" presStyleIdx="2" presStyleCnt="10"/>
      <dgm:spPr/>
    </dgm:pt>
    <dgm:pt modelId="{BE068667-08A9-4CE2-A740-53F95F36B420}" type="pres">
      <dgm:prSet presAssocID="{DEB36DA2-6827-4607-BE47-8F97317C1FB3}" presName="hierChild4" presStyleCnt="0"/>
      <dgm:spPr/>
    </dgm:pt>
    <dgm:pt modelId="{CABDEF33-0332-4AA7-A948-D1784C7C7A01}" type="pres">
      <dgm:prSet presAssocID="{DEB36DA2-6827-4607-BE47-8F97317C1FB3}" presName="hierChild5" presStyleCnt="0"/>
      <dgm:spPr/>
    </dgm:pt>
    <dgm:pt modelId="{682CDFC6-8267-47CD-AA74-C5A5AFAFEC5A}" type="pres">
      <dgm:prSet presAssocID="{4363DDC0-C129-4E07-AF1D-66E3F794B307}" presName="Name37" presStyleLbl="parChTrans1D3" presStyleIdx="3" presStyleCnt="10"/>
      <dgm:spPr/>
    </dgm:pt>
    <dgm:pt modelId="{5F02A59D-44B1-4796-994A-977E1C9D600C}" type="pres">
      <dgm:prSet presAssocID="{93C29F5F-CB09-484B-AB87-8AF8594D2F0F}" presName="hierRoot2" presStyleCnt="0">
        <dgm:presLayoutVars>
          <dgm:hierBranch val="init"/>
        </dgm:presLayoutVars>
      </dgm:prSet>
      <dgm:spPr/>
    </dgm:pt>
    <dgm:pt modelId="{854E64F6-6EE0-4A1D-9D0B-87C54952DA49}" type="pres">
      <dgm:prSet presAssocID="{93C29F5F-CB09-484B-AB87-8AF8594D2F0F}" presName="rootComposite" presStyleCnt="0"/>
      <dgm:spPr/>
    </dgm:pt>
    <dgm:pt modelId="{BA67BF8A-06CB-40A5-9357-4D5A80ACEC00}" type="pres">
      <dgm:prSet presAssocID="{93C29F5F-CB09-484B-AB87-8AF8594D2F0F}" presName="rootText" presStyleLbl="node3" presStyleIdx="3" presStyleCnt="10">
        <dgm:presLayoutVars>
          <dgm:chPref val="3"/>
        </dgm:presLayoutVars>
      </dgm:prSet>
      <dgm:spPr/>
    </dgm:pt>
    <dgm:pt modelId="{55F50C93-14F7-41B2-89AB-6B7979D60000}" type="pres">
      <dgm:prSet presAssocID="{93C29F5F-CB09-484B-AB87-8AF8594D2F0F}" presName="rootConnector" presStyleLbl="node3" presStyleIdx="3" presStyleCnt="10"/>
      <dgm:spPr/>
    </dgm:pt>
    <dgm:pt modelId="{8DB2ABF2-40CF-4C5A-AB12-944C609660D0}" type="pres">
      <dgm:prSet presAssocID="{93C29F5F-CB09-484B-AB87-8AF8594D2F0F}" presName="hierChild4" presStyleCnt="0"/>
      <dgm:spPr/>
    </dgm:pt>
    <dgm:pt modelId="{ECC682BE-0D62-4868-91E0-A9D7057432B9}" type="pres">
      <dgm:prSet presAssocID="{93C29F5F-CB09-484B-AB87-8AF8594D2F0F}" presName="hierChild5" presStyleCnt="0"/>
      <dgm:spPr/>
    </dgm:pt>
    <dgm:pt modelId="{3EA51ED8-B3C7-4D2D-8555-08F29D5A98DA}" type="pres">
      <dgm:prSet presAssocID="{80AD8363-59CC-4ECF-B17E-85F637939D97}" presName="hierChild5" presStyleCnt="0"/>
      <dgm:spPr/>
    </dgm:pt>
    <dgm:pt modelId="{C0346B89-EB4F-4C4B-BA64-1504E8A32CC6}" type="pres">
      <dgm:prSet presAssocID="{A5F7E52B-2467-4FAB-B962-C1F535D92A5C}" presName="Name37" presStyleLbl="parChTrans1D2" presStyleIdx="2" presStyleCnt="5"/>
      <dgm:spPr/>
    </dgm:pt>
    <dgm:pt modelId="{712A264B-D725-4ABD-AA9A-4A5D0C2CDA05}" type="pres">
      <dgm:prSet presAssocID="{9FBAFCC2-1088-4C38-BF15-B0CDDAFF3673}" presName="hierRoot2" presStyleCnt="0">
        <dgm:presLayoutVars>
          <dgm:hierBranch val="init"/>
        </dgm:presLayoutVars>
      </dgm:prSet>
      <dgm:spPr/>
    </dgm:pt>
    <dgm:pt modelId="{A7B2B0B5-C6A9-4E75-A639-CC0775820FB1}" type="pres">
      <dgm:prSet presAssocID="{9FBAFCC2-1088-4C38-BF15-B0CDDAFF3673}" presName="rootComposite" presStyleCnt="0"/>
      <dgm:spPr/>
    </dgm:pt>
    <dgm:pt modelId="{340FCC41-118E-4857-9F2D-0BF18256A1D1}" type="pres">
      <dgm:prSet presAssocID="{9FBAFCC2-1088-4C38-BF15-B0CDDAFF3673}" presName="rootText" presStyleLbl="node2" presStyleIdx="2" presStyleCnt="5">
        <dgm:presLayoutVars>
          <dgm:chPref val="3"/>
        </dgm:presLayoutVars>
      </dgm:prSet>
      <dgm:spPr/>
    </dgm:pt>
    <dgm:pt modelId="{3E0FD7DE-8B34-41D8-A557-FA4546658D58}" type="pres">
      <dgm:prSet presAssocID="{9FBAFCC2-1088-4C38-BF15-B0CDDAFF3673}" presName="rootConnector" presStyleLbl="node2" presStyleIdx="2" presStyleCnt="5"/>
      <dgm:spPr/>
    </dgm:pt>
    <dgm:pt modelId="{E1B9925A-013C-4481-8EC5-EDE9108E9A70}" type="pres">
      <dgm:prSet presAssocID="{9FBAFCC2-1088-4C38-BF15-B0CDDAFF3673}" presName="hierChild4" presStyleCnt="0"/>
      <dgm:spPr/>
    </dgm:pt>
    <dgm:pt modelId="{02D56106-7A09-49B6-899E-D2E84C1476C8}" type="pres">
      <dgm:prSet presAssocID="{51039144-FB0D-4CC2-B612-EAC2783C016C}" presName="Name37" presStyleLbl="parChTrans1D3" presStyleIdx="4" presStyleCnt="10"/>
      <dgm:spPr/>
    </dgm:pt>
    <dgm:pt modelId="{DC60A5BB-7A3F-4674-9E40-FAC3339F054E}" type="pres">
      <dgm:prSet presAssocID="{BF2BFED7-EDDB-455A-B250-A8A78271B24D}" presName="hierRoot2" presStyleCnt="0">
        <dgm:presLayoutVars>
          <dgm:hierBranch val="init"/>
        </dgm:presLayoutVars>
      </dgm:prSet>
      <dgm:spPr/>
    </dgm:pt>
    <dgm:pt modelId="{CD7BFB08-1D7D-439F-84D1-56118FBD16CB}" type="pres">
      <dgm:prSet presAssocID="{BF2BFED7-EDDB-455A-B250-A8A78271B24D}" presName="rootComposite" presStyleCnt="0"/>
      <dgm:spPr/>
    </dgm:pt>
    <dgm:pt modelId="{E900DD85-5800-4D36-8038-2BE7C2B06C38}" type="pres">
      <dgm:prSet presAssocID="{BF2BFED7-EDDB-455A-B250-A8A78271B24D}" presName="rootText" presStyleLbl="node3" presStyleIdx="4" presStyleCnt="10">
        <dgm:presLayoutVars>
          <dgm:chPref val="3"/>
        </dgm:presLayoutVars>
      </dgm:prSet>
      <dgm:spPr/>
    </dgm:pt>
    <dgm:pt modelId="{DC9E4F52-1117-486B-BA04-FEE77FA688A3}" type="pres">
      <dgm:prSet presAssocID="{BF2BFED7-EDDB-455A-B250-A8A78271B24D}" presName="rootConnector" presStyleLbl="node3" presStyleIdx="4" presStyleCnt="10"/>
      <dgm:spPr/>
    </dgm:pt>
    <dgm:pt modelId="{65722E9C-1BFB-4A74-BB50-105A5A2FAEA3}" type="pres">
      <dgm:prSet presAssocID="{BF2BFED7-EDDB-455A-B250-A8A78271B24D}" presName="hierChild4" presStyleCnt="0"/>
      <dgm:spPr/>
    </dgm:pt>
    <dgm:pt modelId="{CB833596-AA82-430F-9DDD-7DDFF84C2913}" type="pres">
      <dgm:prSet presAssocID="{BF2BFED7-EDDB-455A-B250-A8A78271B24D}" presName="hierChild5" presStyleCnt="0"/>
      <dgm:spPr/>
    </dgm:pt>
    <dgm:pt modelId="{45E2A1CD-3EE7-448A-9089-2A6141C0F0B5}" type="pres">
      <dgm:prSet presAssocID="{C5B36C4E-7F47-4C84-8F09-782180D818A6}" presName="Name37" presStyleLbl="parChTrans1D3" presStyleIdx="5" presStyleCnt="10"/>
      <dgm:spPr/>
    </dgm:pt>
    <dgm:pt modelId="{D5DDEFB5-A457-4E30-B376-7C0D9673AF83}" type="pres">
      <dgm:prSet presAssocID="{827C07CF-4222-4A32-B161-8996FECE6C44}" presName="hierRoot2" presStyleCnt="0">
        <dgm:presLayoutVars>
          <dgm:hierBranch val="init"/>
        </dgm:presLayoutVars>
      </dgm:prSet>
      <dgm:spPr/>
    </dgm:pt>
    <dgm:pt modelId="{696ACACA-8664-49FC-84B2-EDD4BD44D10B}" type="pres">
      <dgm:prSet presAssocID="{827C07CF-4222-4A32-B161-8996FECE6C44}" presName="rootComposite" presStyleCnt="0"/>
      <dgm:spPr/>
    </dgm:pt>
    <dgm:pt modelId="{7D40EF6E-EB20-464E-A9E3-3FCF8BBD6E71}" type="pres">
      <dgm:prSet presAssocID="{827C07CF-4222-4A32-B161-8996FECE6C44}" presName="rootText" presStyleLbl="node3" presStyleIdx="5" presStyleCnt="10">
        <dgm:presLayoutVars>
          <dgm:chPref val="3"/>
        </dgm:presLayoutVars>
      </dgm:prSet>
      <dgm:spPr/>
    </dgm:pt>
    <dgm:pt modelId="{0A62A888-16B3-4743-A489-89B06A865797}" type="pres">
      <dgm:prSet presAssocID="{827C07CF-4222-4A32-B161-8996FECE6C44}" presName="rootConnector" presStyleLbl="node3" presStyleIdx="5" presStyleCnt="10"/>
      <dgm:spPr/>
    </dgm:pt>
    <dgm:pt modelId="{75100ABE-B9A9-4ACC-AFD8-C49123381570}" type="pres">
      <dgm:prSet presAssocID="{827C07CF-4222-4A32-B161-8996FECE6C44}" presName="hierChild4" presStyleCnt="0"/>
      <dgm:spPr/>
    </dgm:pt>
    <dgm:pt modelId="{13F58407-8192-4A45-A9DD-0B0B036BEC2F}" type="pres">
      <dgm:prSet presAssocID="{827C07CF-4222-4A32-B161-8996FECE6C44}" presName="hierChild5" presStyleCnt="0"/>
      <dgm:spPr/>
    </dgm:pt>
    <dgm:pt modelId="{0EA126CB-94C9-425A-B6BE-EC6D7BBB6A7D}" type="pres">
      <dgm:prSet presAssocID="{9FBAFCC2-1088-4C38-BF15-B0CDDAFF3673}" presName="hierChild5" presStyleCnt="0"/>
      <dgm:spPr/>
    </dgm:pt>
    <dgm:pt modelId="{9F32A0AD-CFDA-4564-9E8C-FF173C2B8CDA}" type="pres">
      <dgm:prSet presAssocID="{BC379174-E5FB-4556-8149-04D90DF007DB}" presName="Name37" presStyleLbl="parChTrans1D2" presStyleIdx="3" presStyleCnt="5"/>
      <dgm:spPr/>
    </dgm:pt>
    <dgm:pt modelId="{6DE16955-F9F8-4F87-B8C0-88F2EA527A44}" type="pres">
      <dgm:prSet presAssocID="{8BEBC7FB-DCCC-46CD-AEE5-B6C32092949E}" presName="hierRoot2" presStyleCnt="0">
        <dgm:presLayoutVars>
          <dgm:hierBranch val="init"/>
        </dgm:presLayoutVars>
      </dgm:prSet>
      <dgm:spPr/>
    </dgm:pt>
    <dgm:pt modelId="{48F62EE8-D635-4D86-B59D-3AE9BF81113E}" type="pres">
      <dgm:prSet presAssocID="{8BEBC7FB-DCCC-46CD-AEE5-B6C32092949E}" presName="rootComposite" presStyleCnt="0"/>
      <dgm:spPr/>
    </dgm:pt>
    <dgm:pt modelId="{D618B7C0-6F5C-468D-A4C1-1518BA85465F}" type="pres">
      <dgm:prSet presAssocID="{8BEBC7FB-DCCC-46CD-AEE5-B6C32092949E}" presName="rootText" presStyleLbl="node2" presStyleIdx="3" presStyleCnt="5">
        <dgm:presLayoutVars>
          <dgm:chPref val="3"/>
        </dgm:presLayoutVars>
      </dgm:prSet>
      <dgm:spPr/>
    </dgm:pt>
    <dgm:pt modelId="{A4FCF078-9404-41EA-9E18-D1F0EEBFB80A}" type="pres">
      <dgm:prSet presAssocID="{8BEBC7FB-DCCC-46CD-AEE5-B6C32092949E}" presName="rootConnector" presStyleLbl="node2" presStyleIdx="3" presStyleCnt="5"/>
      <dgm:spPr/>
    </dgm:pt>
    <dgm:pt modelId="{39840B18-B770-4349-936B-13CA1A19B5CA}" type="pres">
      <dgm:prSet presAssocID="{8BEBC7FB-DCCC-46CD-AEE5-B6C32092949E}" presName="hierChild4" presStyleCnt="0"/>
      <dgm:spPr/>
    </dgm:pt>
    <dgm:pt modelId="{15DC07A4-93F4-4CCE-A031-A69CEA301CE3}" type="pres">
      <dgm:prSet presAssocID="{5CFB201D-7146-4AF2-9E73-F7AB78E814DB}" presName="Name37" presStyleLbl="parChTrans1D3" presStyleIdx="6" presStyleCnt="10"/>
      <dgm:spPr/>
    </dgm:pt>
    <dgm:pt modelId="{55BC2318-EA4E-4CFC-BB02-D12CB28497FB}" type="pres">
      <dgm:prSet presAssocID="{E2FEFC92-3FC7-4BF5-83C9-44E87C7D2394}" presName="hierRoot2" presStyleCnt="0">
        <dgm:presLayoutVars>
          <dgm:hierBranch val="init"/>
        </dgm:presLayoutVars>
      </dgm:prSet>
      <dgm:spPr/>
    </dgm:pt>
    <dgm:pt modelId="{7B41E1D6-D772-430D-A7B1-B164BCA9B8B2}" type="pres">
      <dgm:prSet presAssocID="{E2FEFC92-3FC7-4BF5-83C9-44E87C7D2394}" presName="rootComposite" presStyleCnt="0"/>
      <dgm:spPr/>
    </dgm:pt>
    <dgm:pt modelId="{16D252CE-933C-48D5-8F1D-41138ED1F066}" type="pres">
      <dgm:prSet presAssocID="{E2FEFC92-3FC7-4BF5-83C9-44E87C7D2394}" presName="rootText" presStyleLbl="node3" presStyleIdx="6" presStyleCnt="10">
        <dgm:presLayoutVars>
          <dgm:chPref val="3"/>
        </dgm:presLayoutVars>
      </dgm:prSet>
      <dgm:spPr/>
    </dgm:pt>
    <dgm:pt modelId="{738F4FEC-8B67-419E-ACAC-83C592F6630E}" type="pres">
      <dgm:prSet presAssocID="{E2FEFC92-3FC7-4BF5-83C9-44E87C7D2394}" presName="rootConnector" presStyleLbl="node3" presStyleIdx="6" presStyleCnt="10"/>
      <dgm:spPr/>
    </dgm:pt>
    <dgm:pt modelId="{A1BF3818-D1F4-4987-A83A-D6CC3A58D08F}" type="pres">
      <dgm:prSet presAssocID="{E2FEFC92-3FC7-4BF5-83C9-44E87C7D2394}" presName="hierChild4" presStyleCnt="0"/>
      <dgm:spPr/>
    </dgm:pt>
    <dgm:pt modelId="{0C2F1ACF-36F5-4D0B-B59C-7C23C7DD57E4}" type="pres">
      <dgm:prSet presAssocID="{E2FEFC92-3FC7-4BF5-83C9-44E87C7D2394}" presName="hierChild5" presStyleCnt="0"/>
      <dgm:spPr/>
    </dgm:pt>
    <dgm:pt modelId="{142F4899-082A-43DC-84F0-DFD329DF422C}" type="pres">
      <dgm:prSet presAssocID="{75DA4344-7CF5-4120-837D-BC24F1C5AE01}" presName="Name37" presStyleLbl="parChTrans1D3" presStyleIdx="7" presStyleCnt="10"/>
      <dgm:spPr/>
    </dgm:pt>
    <dgm:pt modelId="{23941355-0D94-421C-8F16-F8A5F81AB5C1}" type="pres">
      <dgm:prSet presAssocID="{7CDDC5F2-D378-49D2-AA8D-235164CB9DC9}" presName="hierRoot2" presStyleCnt="0">
        <dgm:presLayoutVars>
          <dgm:hierBranch val="init"/>
        </dgm:presLayoutVars>
      </dgm:prSet>
      <dgm:spPr/>
    </dgm:pt>
    <dgm:pt modelId="{B7D3DF5C-BA8F-4907-90E1-6DFA358492D3}" type="pres">
      <dgm:prSet presAssocID="{7CDDC5F2-D378-49D2-AA8D-235164CB9DC9}" presName="rootComposite" presStyleCnt="0"/>
      <dgm:spPr/>
    </dgm:pt>
    <dgm:pt modelId="{92CA905F-3A94-4F49-8253-50DB46DE2B0A}" type="pres">
      <dgm:prSet presAssocID="{7CDDC5F2-D378-49D2-AA8D-235164CB9DC9}" presName="rootText" presStyleLbl="node3" presStyleIdx="7" presStyleCnt="10">
        <dgm:presLayoutVars>
          <dgm:chPref val="3"/>
        </dgm:presLayoutVars>
      </dgm:prSet>
      <dgm:spPr/>
    </dgm:pt>
    <dgm:pt modelId="{86FCF466-3F2D-46F3-A014-D3A199CC5F72}" type="pres">
      <dgm:prSet presAssocID="{7CDDC5F2-D378-49D2-AA8D-235164CB9DC9}" presName="rootConnector" presStyleLbl="node3" presStyleIdx="7" presStyleCnt="10"/>
      <dgm:spPr/>
    </dgm:pt>
    <dgm:pt modelId="{B8877299-904F-4BB4-803D-25B7CEB8D8E7}" type="pres">
      <dgm:prSet presAssocID="{7CDDC5F2-D378-49D2-AA8D-235164CB9DC9}" presName="hierChild4" presStyleCnt="0"/>
      <dgm:spPr/>
    </dgm:pt>
    <dgm:pt modelId="{05507F43-4259-44F7-B6A4-8C8F75D69BD8}" type="pres">
      <dgm:prSet presAssocID="{7CDDC5F2-D378-49D2-AA8D-235164CB9DC9}" presName="hierChild5" presStyleCnt="0"/>
      <dgm:spPr/>
    </dgm:pt>
    <dgm:pt modelId="{EA395E72-C643-4A26-BE6F-659ED2F6C888}" type="pres">
      <dgm:prSet presAssocID="{8BEBC7FB-DCCC-46CD-AEE5-B6C32092949E}" presName="hierChild5" presStyleCnt="0"/>
      <dgm:spPr/>
    </dgm:pt>
    <dgm:pt modelId="{0553A0BC-284B-4EF8-9D58-EF52CDB8C905}" type="pres">
      <dgm:prSet presAssocID="{9384EF75-1B7A-4C23-AAF8-E9A38A67F0ED}" presName="Name37" presStyleLbl="parChTrans1D2" presStyleIdx="4" presStyleCnt="5"/>
      <dgm:spPr/>
    </dgm:pt>
    <dgm:pt modelId="{B831C958-5B65-41F1-8D1E-405885EF69A5}" type="pres">
      <dgm:prSet presAssocID="{0E7E9117-81EF-47F2-A190-3A8F223026DC}" presName="hierRoot2" presStyleCnt="0">
        <dgm:presLayoutVars>
          <dgm:hierBranch val="init"/>
        </dgm:presLayoutVars>
      </dgm:prSet>
      <dgm:spPr/>
    </dgm:pt>
    <dgm:pt modelId="{0CBDE784-B2BD-45F5-A006-422F00B753DC}" type="pres">
      <dgm:prSet presAssocID="{0E7E9117-81EF-47F2-A190-3A8F223026DC}" presName="rootComposite" presStyleCnt="0"/>
      <dgm:spPr/>
    </dgm:pt>
    <dgm:pt modelId="{46A871CE-9F7E-460D-86F3-B1506085BF8B}" type="pres">
      <dgm:prSet presAssocID="{0E7E9117-81EF-47F2-A190-3A8F223026DC}" presName="rootText" presStyleLbl="node2" presStyleIdx="4" presStyleCnt="5">
        <dgm:presLayoutVars>
          <dgm:chPref val="3"/>
        </dgm:presLayoutVars>
      </dgm:prSet>
      <dgm:spPr/>
    </dgm:pt>
    <dgm:pt modelId="{367195AB-B55C-410C-9867-5824CEAB3B9C}" type="pres">
      <dgm:prSet presAssocID="{0E7E9117-81EF-47F2-A190-3A8F223026DC}" presName="rootConnector" presStyleLbl="node2" presStyleIdx="4" presStyleCnt="5"/>
      <dgm:spPr/>
    </dgm:pt>
    <dgm:pt modelId="{F03AF956-BBDB-43B1-8EFE-75E51DF8524D}" type="pres">
      <dgm:prSet presAssocID="{0E7E9117-81EF-47F2-A190-3A8F223026DC}" presName="hierChild4" presStyleCnt="0"/>
      <dgm:spPr/>
    </dgm:pt>
    <dgm:pt modelId="{67553A1D-967C-43B4-BA8A-2D692941E317}" type="pres">
      <dgm:prSet presAssocID="{F91DC1CF-D399-4FA7-A869-09DA8292CF31}" presName="Name37" presStyleLbl="parChTrans1D3" presStyleIdx="8" presStyleCnt="10"/>
      <dgm:spPr/>
    </dgm:pt>
    <dgm:pt modelId="{1B921C22-3CBD-4279-86FA-9B88046D14A4}" type="pres">
      <dgm:prSet presAssocID="{4581F850-6024-4F7C-8BD0-5900A395DC38}" presName="hierRoot2" presStyleCnt="0">
        <dgm:presLayoutVars>
          <dgm:hierBranch val="init"/>
        </dgm:presLayoutVars>
      </dgm:prSet>
      <dgm:spPr/>
    </dgm:pt>
    <dgm:pt modelId="{ADCB6449-B295-4BE7-9F26-149FEFC26D47}" type="pres">
      <dgm:prSet presAssocID="{4581F850-6024-4F7C-8BD0-5900A395DC38}" presName="rootComposite" presStyleCnt="0"/>
      <dgm:spPr/>
    </dgm:pt>
    <dgm:pt modelId="{B095BA7F-7BBA-4FAF-B92C-3DC6E152C267}" type="pres">
      <dgm:prSet presAssocID="{4581F850-6024-4F7C-8BD0-5900A395DC38}" presName="rootText" presStyleLbl="node3" presStyleIdx="8" presStyleCnt="10">
        <dgm:presLayoutVars>
          <dgm:chPref val="3"/>
        </dgm:presLayoutVars>
      </dgm:prSet>
      <dgm:spPr/>
    </dgm:pt>
    <dgm:pt modelId="{8150D7CB-A406-4CEC-90AE-351180A5CB1A}" type="pres">
      <dgm:prSet presAssocID="{4581F850-6024-4F7C-8BD0-5900A395DC38}" presName="rootConnector" presStyleLbl="node3" presStyleIdx="8" presStyleCnt="10"/>
      <dgm:spPr/>
    </dgm:pt>
    <dgm:pt modelId="{9C9AE306-5CA0-42D7-BADC-D966EFC950A4}" type="pres">
      <dgm:prSet presAssocID="{4581F850-6024-4F7C-8BD0-5900A395DC38}" presName="hierChild4" presStyleCnt="0"/>
      <dgm:spPr/>
    </dgm:pt>
    <dgm:pt modelId="{2E4BEBD4-2D37-4535-AEF5-293D412DDC6E}" type="pres">
      <dgm:prSet presAssocID="{4581F850-6024-4F7C-8BD0-5900A395DC38}" presName="hierChild5" presStyleCnt="0"/>
      <dgm:spPr/>
    </dgm:pt>
    <dgm:pt modelId="{D875C413-9D93-47BC-9740-F5D80E38FCD7}" type="pres">
      <dgm:prSet presAssocID="{B4B9801E-8CE0-4A06-B9EB-B9854E323A7A}" presName="Name37" presStyleLbl="parChTrans1D3" presStyleIdx="9" presStyleCnt="10"/>
      <dgm:spPr/>
    </dgm:pt>
    <dgm:pt modelId="{C8FCFE1F-5216-4C01-99C3-25BB9998A104}" type="pres">
      <dgm:prSet presAssocID="{C838BEB0-0598-4A4F-B3A2-9DE6C663C30E}" presName="hierRoot2" presStyleCnt="0">
        <dgm:presLayoutVars>
          <dgm:hierBranch val="init"/>
        </dgm:presLayoutVars>
      </dgm:prSet>
      <dgm:spPr/>
    </dgm:pt>
    <dgm:pt modelId="{DF9BA702-BCC7-4B99-8052-4A03B8E5FC2A}" type="pres">
      <dgm:prSet presAssocID="{C838BEB0-0598-4A4F-B3A2-9DE6C663C30E}" presName="rootComposite" presStyleCnt="0"/>
      <dgm:spPr/>
    </dgm:pt>
    <dgm:pt modelId="{F5AE103C-8D53-4317-A9F2-4D7AEB78142D}" type="pres">
      <dgm:prSet presAssocID="{C838BEB0-0598-4A4F-B3A2-9DE6C663C30E}" presName="rootText" presStyleLbl="node3" presStyleIdx="9" presStyleCnt="10">
        <dgm:presLayoutVars>
          <dgm:chPref val="3"/>
        </dgm:presLayoutVars>
      </dgm:prSet>
      <dgm:spPr/>
    </dgm:pt>
    <dgm:pt modelId="{AF60FD53-0560-4243-A12D-40EFDF9F2945}" type="pres">
      <dgm:prSet presAssocID="{C838BEB0-0598-4A4F-B3A2-9DE6C663C30E}" presName="rootConnector" presStyleLbl="node3" presStyleIdx="9" presStyleCnt="10"/>
      <dgm:spPr/>
    </dgm:pt>
    <dgm:pt modelId="{34D6D6DF-D6D5-4083-9CB1-E5B6927A85C4}" type="pres">
      <dgm:prSet presAssocID="{C838BEB0-0598-4A4F-B3A2-9DE6C663C30E}" presName="hierChild4" presStyleCnt="0"/>
      <dgm:spPr/>
    </dgm:pt>
    <dgm:pt modelId="{2D16C8A0-82BD-41DE-9B24-485C5947ADD4}" type="pres">
      <dgm:prSet presAssocID="{C838BEB0-0598-4A4F-B3A2-9DE6C663C30E}" presName="hierChild5" presStyleCnt="0"/>
      <dgm:spPr/>
    </dgm:pt>
    <dgm:pt modelId="{F323B80A-26E1-45DE-9FB0-D2590398B930}" type="pres">
      <dgm:prSet presAssocID="{0E7E9117-81EF-47F2-A190-3A8F223026DC}" presName="hierChild5" presStyleCnt="0"/>
      <dgm:spPr/>
    </dgm:pt>
    <dgm:pt modelId="{4297EB39-A04D-4864-88BF-56EDAE5908BE}" type="pres">
      <dgm:prSet presAssocID="{C4C7339B-83B6-4D26-8E01-3953B93210F9}" presName="hierChild3" presStyleCnt="0"/>
      <dgm:spPr/>
    </dgm:pt>
  </dgm:ptLst>
  <dgm:cxnLst>
    <dgm:cxn modelId="{ED43B000-F5D1-490D-A8BE-D07FEA7BFE33}" type="presOf" srcId="{7CDDC5F2-D378-49D2-AA8D-235164CB9DC9}" destId="{86FCF466-3F2D-46F3-A014-D3A199CC5F72}" srcOrd="1" destOrd="0" presId="urn:microsoft.com/office/officeart/2005/8/layout/orgChart1"/>
    <dgm:cxn modelId="{D9074601-5BF8-4A78-980B-CA14A112E707}" type="presOf" srcId="{C1D4027F-B095-4A85-A450-9432A23F7B1B}" destId="{C6266DDB-3FAA-4ECB-A052-D43B180C189F}" srcOrd="0" destOrd="0" presId="urn:microsoft.com/office/officeart/2005/8/layout/orgChart1"/>
    <dgm:cxn modelId="{3EB98103-D629-4620-88B1-CD4ED01A41B2}" type="presOf" srcId="{B53B4AAC-E0CB-4055-98CC-D6CD5D796A90}" destId="{D18BBBF0-F18B-4EB4-8A8C-BD76A7472F86}" srcOrd="1" destOrd="0" presId="urn:microsoft.com/office/officeart/2005/8/layout/orgChart1"/>
    <dgm:cxn modelId="{7DD2AC09-656C-4B2E-B4C9-65BAB4A2E1C0}" srcId="{C4C7339B-83B6-4D26-8E01-3953B93210F9}" destId="{8BEBC7FB-DCCC-46CD-AEE5-B6C32092949E}" srcOrd="3" destOrd="0" parTransId="{BC379174-E5FB-4556-8149-04D90DF007DB}" sibTransId="{4518C53E-6C6D-4ECC-B5BD-AE332CD53242}"/>
    <dgm:cxn modelId="{DA4F1E0C-4843-4813-8405-3011E4D07421}" type="presOf" srcId="{B4B9801E-8CE0-4A06-B9EB-B9854E323A7A}" destId="{D875C413-9D93-47BC-9740-F5D80E38FCD7}" srcOrd="0" destOrd="0" presId="urn:microsoft.com/office/officeart/2005/8/layout/orgChart1"/>
    <dgm:cxn modelId="{F4319911-476F-4063-AA37-8490AF218D71}" srcId="{9FBAFCC2-1088-4C38-BF15-B0CDDAFF3673}" destId="{827C07CF-4222-4A32-B161-8996FECE6C44}" srcOrd="1" destOrd="0" parTransId="{C5B36C4E-7F47-4C84-8F09-782180D818A6}" sibTransId="{BA13CEA4-5BE0-44BC-8AE9-91325B64F3AA}"/>
    <dgm:cxn modelId="{C8915917-5B2E-494A-A660-167860974AFF}" srcId="{C1D4027F-B095-4A85-A450-9432A23F7B1B}" destId="{BE6A6293-554A-4DBA-933E-925B1799E536}" srcOrd="0" destOrd="0" parTransId="{8739DE3A-D7CA-421D-A399-42CB7FE1E0FB}" sibTransId="{06595F46-3766-4C58-BD42-1BE62E72D2DA}"/>
    <dgm:cxn modelId="{1A0F711E-C4BE-477F-A9F8-BF7B4D84283A}" type="presOf" srcId="{80AD8363-59CC-4ECF-B17E-85F637939D97}" destId="{E502DDEE-2669-4730-BAFC-B1AFDE4BA2CA}" srcOrd="0" destOrd="0" presId="urn:microsoft.com/office/officeart/2005/8/layout/orgChart1"/>
    <dgm:cxn modelId="{E1689F24-C2CF-44C0-B912-15D549637590}" type="presOf" srcId="{9FBAFCC2-1088-4C38-BF15-B0CDDAFF3673}" destId="{3E0FD7DE-8B34-41D8-A557-FA4546658D58}" srcOrd="1" destOrd="0" presId="urn:microsoft.com/office/officeart/2005/8/layout/orgChart1"/>
    <dgm:cxn modelId="{D042B828-6770-4E4D-87F3-2763F2EFF167}" type="presOf" srcId="{75DA4344-7CF5-4120-837D-BC24F1C5AE01}" destId="{142F4899-082A-43DC-84F0-DFD329DF422C}" srcOrd="0" destOrd="0" presId="urn:microsoft.com/office/officeart/2005/8/layout/orgChart1"/>
    <dgm:cxn modelId="{CE460D29-E988-459A-8CBE-1A03EF51E8C8}" type="presOf" srcId="{C4C7339B-83B6-4D26-8E01-3953B93210F9}" destId="{77620163-D56F-4AEE-B08C-30243DD53061}" srcOrd="1" destOrd="0" presId="urn:microsoft.com/office/officeart/2005/8/layout/orgChart1"/>
    <dgm:cxn modelId="{6CF3892A-F575-4BE2-95AA-5B2ECC2F70EF}" type="presOf" srcId="{E2FEFC92-3FC7-4BF5-83C9-44E87C7D2394}" destId="{738F4FEC-8B67-419E-ACAC-83C592F6630E}" srcOrd="1" destOrd="0" presId="urn:microsoft.com/office/officeart/2005/8/layout/orgChart1"/>
    <dgm:cxn modelId="{AFD55D2F-277D-45C9-8CFB-169DE8D0E340}" type="presOf" srcId="{B19757D3-355C-4BC0-8735-C4E5B9693C5B}" destId="{E0A03FAF-9656-41F1-90B6-AA6AB4E03A25}" srcOrd="0" destOrd="0" presId="urn:microsoft.com/office/officeart/2005/8/layout/orgChart1"/>
    <dgm:cxn modelId="{AB71EE2F-9538-4B3F-A2C3-36E512BF4565}" srcId="{0E7E9117-81EF-47F2-A190-3A8F223026DC}" destId="{C838BEB0-0598-4A4F-B3A2-9DE6C663C30E}" srcOrd="1" destOrd="0" parTransId="{B4B9801E-8CE0-4A06-B9EB-B9854E323A7A}" sibTransId="{DADBC76A-F51F-484C-BCAE-0A3E875E3886}"/>
    <dgm:cxn modelId="{0F6EF430-14E4-468D-907B-0F84760FC761}" type="presOf" srcId="{8BEBC7FB-DCCC-46CD-AEE5-B6C32092949E}" destId="{D618B7C0-6F5C-468D-A4C1-1518BA85465F}" srcOrd="0" destOrd="0" presId="urn:microsoft.com/office/officeart/2005/8/layout/orgChart1"/>
    <dgm:cxn modelId="{3C1CB233-ADFE-4C37-AF94-755BE1AB2468}" srcId="{C4C7339B-83B6-4D26-8E01-3953B93210F9}" destId="{80AD8363-59CC-4ECF-B17E-85F637939D97}" srcOrd="1" destOrd="0" parTransId="{B19757D3-355C-4BC0-8735-C4E5B9693C5B}" sibTransId="{11D07AD1-B260-41DE-88DE-080B5E0F1EE0}"/>
    <dgm:cxn modelId="{E8173C36-CF5B-42A9-BD87-852DC7AE378F}" type="presOf" srcId="{9384EF75-1B7A-4C23-AAF8-E9A38A67F0ED}" destId="{0553A0BC-284B-4EF8-9D58-EF52CDB8C905}" srcOrd="0" destOrd="0" presId="urn:microsoft.com/office/officeart/2005/8/layout/orgChart1"/>
    <dgm:cxn modelId="{AB7C1238-8D36-4296-8958-6D3632EB9ABD}" srcId="{80AD8363-59CC-4ECF-B17E-85F637939D97}" destId="{93C29F5F-CB09-484B-AB87-8AF8594D2F0F}" srcOrd="1" destOrd="0" parTransId="{4363DDC0-C129-4E07-AF1D-66E3F794B307}" sibTransId="{2A041710-37ED-4549-A61B-51EA7D9A98E4}"/>
    <dgm:cxn modelId="{86FA3F3F-13F0-4A31-A706-E951DFEF685C}" type="presOf" srcId="{4581F850-6024-4F7C-8BD0-5900A395DC38}" destId="{B095BA7F-7BBA-4FAF-B92C-3DC6E152C267}" srcOrd="0" destOrd="0" presId="urn:microsoft.com/office/officeart/2005/8/layout/orgChart1"/>
    <dgm:cxn modelId="{095C553F-7AC1-44E6-A740-B3BB54E30B08}" type="presOf" srcId="{C4C7339B-83B6-4D26-8E01-3953B93210F9}" destId="{9555D650-9B55-4BA1-AAA1-A1C2C453D763}" srcOrd="0" destOrd="0" presId="urn:microsoft.com/office/officeart/2005/8/layout/orgChart1"/>
    <dgm:cxn modelId="{5A54DC3F-51E1-4363-93DE-8AA12CAD39BC}" type="presOf" srcId="{80AD8363-59CC-4ECF-B17E-85F637939D97}" destId="{1E0DF881-DB96-4B90-B55A-AE4F59906FB2}" srcOrd="1" destOrd="0" presId="urn:microsoft.com/office/officeart/2005/8/layout/orgChart1"/>
    <dgm:cxn modelId="{FC78195E-B387-4A8C-B546-A7CCF7EFFEF6}" type="presOf" srcId="{0E7E9117-81EF-47F2-A190-3A8F223026DC}" destId="{367195AB-B55C-410C-9867-5824CEAB3B9C}" srcOrd="1" destOrd="0" presId="urn:microsoft.com/office/officeart/2005/8/layout/orgChart1"/>
    <dgm:cxn modelId="{D06AAF5E-21A0-4634-99B9-724A71B4CD29}" type="presOf" srcId="{827C07CF-4222-4A32-B161-8996FECE6C44}" destId="{0A62A888-16B3-4743-A489-89B06A865797}" srcOrd="1" destOrd="0" presId="urn:microsoft.com/office/officeart/2005/8/layout/orgChart1"/>
    <dgm:cxn modelId="{29956F42-D292-494A-8E60-5E009E1C4305}" type="presOf" srcId="{BF2BFED7-EDDB-455A-B250-A8A78271B24D}" destId="{E900DD85-5800-4D36-8038-2BE7C2B06C38}" srcOrd="0" destOrd="0" presId="urn:microsoft.com/office/officeart/2005/8/layout/orgChart1"/>
    <dgm:cxn modelId="{050E0743-E3E7-4168-8427-443C4902598F}" type="presOf" srcId="{4363DDC0-C129-4E07-AF1D-66E3F794B307}" destId="{682CDFC6-8267-47CD-AA74-C5A5AFAFEC5A}" srcOrd="0" destOrd="0" presId="urn:microsoft.com/office/officeart/2005/8/layout/orgChart1"/>
    <dgm:cxn modelId="{CD501D43-DF8F-42D8-A3C8-1ACD73EDC284}" type="presOf" srcId="{08555166-228D-4B9E-8381-A24B5ACE7D08}" destId="{AC6970D9-210B-4CCB-B87F-38F054CB42CA}" srcOrd="0" destOrd="0" presId="urn:microsoft.com/office/officeart/2005/8/layout/orgChart1"/>
    <dgm:cxn modelId="{45F4CB48-6806-4EBD-A3A9-F83D7DE2F1E1}" type="presOf" srcId="{5CFB201D-7146-4AF2-9E73-F7AB78E814DB}" destId="{15DC07A4-93F4-4CCE-A031-A69CEA301CE3}" srcOrd="0" destOrd="0" presId="urn:microsoft.com/office/officeart/2005/8/layout/orgChart1"/>
    <dgm:cxn modelId="{909DC669-AAEF-46AF-9DCA-21313E935771}" srcId="{8BEBC7FB-DCCC-46CD-AEE5-B6C32092949E}" destId="{E2FEFC92-3FC7-4BF5-83C9-44E87C7D2394}" srcOrd="0" destOrd="0" parTransId="{5CFB201D-7146-4AF2-9E73-F7AB78E814DB}" sibTransId="{5511D986-D79B-4E8C-A5CF-4007D164B943}"/>
    <dgm:cxn modelId="{54A1DC4D-075C-42D8-9C4F-1C610DCB08F9}" type="presOf" srcId="{C838BEB0-0598-4A4F-B3A2-9DE6C663C30E}" destId="{F5AE103C-8D53-4317-A9F2-4D7AEB78142D}" srcOrd="0" destOrd="0" presId="urn:microsoft.com/office/officeart/2005/8/layout/orgChart1"/>
    <dgm:cxn modelId="{8972B44E-C0E8-4A0D-A8B8-0CADC055A77A}" srcId="{C4C7339B-83B6-4D26-8E01-3953B93210F9}" destId="{0E7E9117-81EF-47F2-A190-3A8F223026DC}" srcOrd="4" destOrd="0" parTransId="{9384EF75-1B7A-4C23-AAF8-E9A38A67F0ED}" sibTransId="{D83199B9-B803-42AE-9E76-1120A76C3B0D}"/>
    <dgm:cxn modelId="{1D92814F-9F91-4877-A2DB-C21F4F1D3D2D}" type="presOf" srcId="{0148E494-E31A-4651-B430-18FD9172817B}" destId="{20C71240-BFFE-445A-A1ED-4309266B267E}" srcOrd="0" destOrd="0" presId="urn:microsoft.com/office/officeart/2005/8/layout/orgChart1"/>
    <dgm:cxn modelId="{965EEF6F-4997-4424-9222-E750F2A802B4}" srcId="{80AD8363-59CC-4ECF-B17E-85F637939D97}" destId="{DEB36DA2-6827-4607-BE47-8F97317C1FB3}" srcOrd="0" destOrd="0" parTransId="{37F02310-E647-427C-B529-EED7C39E33AC}" sibTransId="{9FBC8B01-76ED-43C5-852C-7C61C7555EC2}"/>
    <dgm:cxn modelId="{781BD673-25C6-4A3B-992B-D21734F91836}" type="presOf" srcId="{E2FEFC92-3FC7-4BF5-83C9-44E87C7D2394}" destId="{16D252CE-933C-48D5-8F1D-41138ED1F066}" srcOrd="0" destOrd="0" presId="urn:microsoft.com/office/officeart/2005/8/layout/orgChart1"/>
    <dgm:cxn modelId="{5B7A4555-339B-4FD8-878F-D2A16DB5D044}" type="presOf" srcId="{BC379174-E5FB-4556-8149-04D90DF007DB}" destId="{9F32A0AD-CFDA-4564-9E8C-FF173C2B8CDA}" srcOrd="0" destOrd="0" presId="urn:microsoft.com/office/officeart/2005/8/layout/orgChart1"/>
    <dgm:cxn modelId="{60835F77-6B03-428B-8EB7-DA906B7C8DD5}" type="presOf" srcId="{C1D4027F-B095-4A85-A450-9432A23F7B1B}" destId="{B54CD0F3-AFF8-4767-BD8D-44B5C97644EA}" srcOrd="1" destOrd="0" presId="urn:microsoft.com/office/officeart/2005/8/layout/orgChart1"/>
    <dgm:cxn modelId="{B1062682-2011-4BDE-8B3C-4A1CEF382E50}" srcId="{C4C7339B-83B6-4D26-8E01-3953B93210F9}" destId="{C1D4027F-B095-4A85-A450-9432A23F7B1B}" srcOrd="0" destOrd="0" parTransId="{576F6315-99CA-43F7-BA35-090299126B7B}" sibTransId="{28D8E872-6BCF-4745-A9B2-EB33BD052117}"/>
    <dgm:cxn modelId="{23936784-D3FC-4D87-AB38-43A097A70A46}" type="presOf" srcId="{C838BEB0-0598-4A4F-B3A2-9DE6C663C30E}" destId="{AF60FD53-0560-4243-A12D-40EFDF9F2945}" srcOrd="1" destOrd="0" presId="urn:microsoft.com/office/officeart/2005/8/layout/orgChart1"/>
    <dgm:cxn modelId="{F77A7488-0A95-4537-B451-35EA019F05D7}" type="presOf" srcId="{8739DE3A-D7CA-421D-A399-42CB7FE1E0FB}" destId="{12B0D492-0C60-46D3-A144-C82C5A61CFF0}" srcOrd="0" destOrd="0" presId="urn:microsoft.com/office/officeart/2005/8/layout/orgChart1"/>
    <dgm:cxn modelId="{04E82D8B-7756-435B-A09B-DE3485A6EC3C}" type="presOf" srcId="{B53B4AAC-E0CB-4055-98CC-D6CD5D796A90}" destId="{BB1DF441-5B8B-439D-8C5D-776D83DECC07}" srcOrd="0" destOrd="0" presId="urn:microsoft.com/office/officeart/2005/8/layout/orgChart1"/>
    <dgm:cxn modelId="{CCCA7A97-003B-4E0A-9CE9-4C3ECA4A560C}" type="presOf" srcId="{0E7E9117-81EF-47F2-A190-3A8F223026DC}" destId="{46A871CE-9F7E-460D-86F3-B1506085BF8B}" srcOrd="0" destOrd="0" presId="urn:microsoft.com/office/officeart/2005/8/layout/orgChart1"/>
    <dgm:cxn modelId="{7BC2119A-18B0-4ADA-A975-11A43F75728E}" type="presOf" srcId="{BE6A6293-554A-4DBA-933E-925B1799E536}" destId="{5207BFD0-2A1D-4E92-959B-3809AD0F3B5B}" srcOrd="0" destOrd="0" presId="urn:microsoft.com/office/officeart/2005/8/layout/orgChart1"/>
    <dgm:cxn modelId="{C5777BA4-B188-44E7-AB43-0FCA9B21C528}" type="presOf" srcId="{9FBAFCC2-1088-4C38-BF15-B0CDDAFF3673}" destId="{340FCC41-118E-4857-9F2D-0BF18256A1D1}" srcOrd="0" destOrd="0" presId="urn:microsoft.com/office/officeart/2005/8/layout/orgChart1"/>
    <dgm:cxn modelId="{CEC45CA7-DA41-401E-8FD9-761B25F6E50B}" srcId="{9FBAFCC2-1088-4C38-BF15-B0CDDAFF3673}" destId="{BF2BFED7-EDDB-455A-B250-A8A78271B24D}" srcOrd="0" destOrd="0" parTransId="{51039144-FB0D-4CC2-B612-EAC2783C016C}" sibTransId="{8F68F951-66F9-4F87-8FF5-731A69270241}"/>
    <dgm:cxn modelId="{622449A7-E9FE-406F-B5F2-D90AA4AF5782}" srcId="{08555166-228D-4B9E-8381-A24B5ACE7D08}" destId="{C4C7339B-83B6-4D26-8E01-3953B93210F9}" srcOrd="0" destOrd="0" parTransId="{8BA8C51D-64C5-4022-941C-FC7D51B8042A}" sibTransId="{9D65DC5E-6CEB-4678-B01E-A3F357AEECBC}"/>
    <dgm:cxn modelId="{3523AAA7-6535-4BC6-8A40-9590EDE40687}" type="presOf" srcId="{C5B36C4E-7F47-4C84-8F09-782180D818A6}" destId="{45E2A1CD-3EE7-448A-9089-2A6141C0F0B5}" srcOrd="0" destOrd="0" presId="urn:microsoft.com/office/officeart/2005/8/layout/orgChart1"/>
    <dgm:cxn modelId="{126846A9-9D49-49CA-A815-C136DC8D4271}" type="presOf" srcId="{51039144-FB0D-4CC2-B612-EAC2783C016C}" destId="{02D56106-7A09-49B6-899E-D2E84C1476C8}" srcOrd="0" destOrd="0" presId="urn:microsoft.com/office/officeart/2005/8/layout/orgChart1"/>
    <dgm:cxn modelId="{165CCFA9-0F25-4CDA-9B25-A7747851AE53}" srcId="{0E7E9117-81EF-47F2-A190-3A8F223026DC}" destId="{4581F850-6024-4F7C-8BD0-5900A395DC38}" srcOrd="0" destOrd="0" parTransId="{F91DC1CF-D399-4FA7-A869-09DA8292CF31}" sibTransId="{0ECAE49F-A8A1-415F-A56E-4F362B521C0E}"/>
    <dgm:cxn modelId="{22C893AA-4E72-4FC2-BDB1-2DF5A9BD76F4}" srcId="{C4C7339B-83B6-4D26-8E01-3953B93210F9}" destId="{9FBAFCC2-1088-4C38-BF15-B0CDDAFF3673}" srcOrd="2" destOrd="0" parTransId="{A5F7E52B-2467-4FAB-B962-C1F535D92A5C}" sibTransId="{1F6EED45-576A-4B02-B051-28E1A13817B9}"/>
    <dgm:cxn modelId="{B01D2BB0-9F79-4035-84D9-5BE7B041E263}" type="presOf" srcId="{BE6A6293-554A-4DBA-933E-925B1799E536}" destId="{B96B0DA1-B3E9-44CB-89A3-843926E65E8A}" srcOrd="1" destOrd="0" presId="urn:microsoft.com/office/officeart/2005/8/layout/orgChart1"/>
    <dgm:cxn modelId="{D7E549B0-9733-455A-9089-5E73956A12F7}" type="presOf" srcId="{93C29F5F-CB09-484B-AB87-8AF8594D2F0F}" destId="{BA67BF8A-06CB-40A5-9357-4D5A80ACEC00}" srcOrd="0" destOrd="0" presId="urn:microsoft.com/office/officeart/2005/8/layout/orgChart1"/>
    <dgm:cxn modelId="{3F5414B1-DBDC-4EAA-89CE-07418BDE0078}" srcId="{C1D4027F-B095-4A85-A450-9432A23F7B1B}" destId="{B53B4AAC-E0CB-4055-98CC-D6CD5D796A90}" srcOrd="1" destOrd="0" parTransId="{0148E494-E31A-4651-B430-18FD9172817B}" sibTransId="{F846447A-64BD-4AD1-93DB-B46D1FA87AF2}"/>
    <dgm:cxn modelId="{CF7BABBC-E40C-4557-ACD4-B35AB885A7C2}" type="presOf" srcId="{37F02310-E647-427C-B529-EED7C39E33AC}" destId="{50F9B66E-385D-46AE-8F44-A8DE5EAF269C}" srcOrd="0" destOrd="0" presId="urn:microsoft.com/office/officeart/2005/8/layout/orgChart1"/>
    <dgm:cxn modelId="{D2B851BE-ADE4-4E22-A5FB-62D32B9739B9}" type="presOf" srcId="{8BEBC7FB-DCCC-46CD-AEE5-B6C32092949E}" destId="{A4FCF078-9404-41EA-9E18-D1F0EEBFB80A}" srcOrd="1" destOrd="0" presId="urn:microsoft.com/office/officeart/2005/8/layout/orgChart1"/>
    <dgm:cxn modelId="{E5EB1EC0-38B0-40BC-A920-8A4116BA9546}" type="presOf" srcId="{827C07CF-4222-4A32-B161-8996FECE6C44}" destId="{7D40EF6E-EB20-464E-A9E3-3FCF8BBD6E71}" srcOrd="0" destOrd="0" presId="urn:microsoft.com/office/officeart/2005/8/layout/orgChart1"/>
    <dgm:cxn modelId="{2FF212C3-555B-457F-991F-95AB65987749}" type="presOf" srcId="{F91DC1CF-D399-4FA7-A869-09DA8292CF31}" destId="{67553A1D-967C-43B4-BA8A-2D692941E317}" srcOrd="0" destOrd="0" presId="urn:microsoft.com/office/officeart/2005/8/layout/orgChart1"/>
    <dgm:cxn modelId="{16F8FBCA-AB7D-4298-818A-FF0C89D3FB8C}" type="presOf" srcId="{576F6315-99CA-43F7-BA35-090299126B7B}" destId="{0E2EC6B3-E76B-4B47-AE97-F47056A50480}" srcOrd="0" destOrd="0" presId="urn:microsoft.com/office/officeart/2005/8/layout/orgChart1"/>
    <dgm:cxn modelId="{773C82D0-0250-4C62-B0F9-17A10D993A10}" type="presOf" srcId="{4581F850-6024-4F7C-8BD0-5900A395DC38}" destId="{8150D7CB-A406-4CEC-90AE-351180A5CB1A}" srcOrd="1" destOrd="0" presId="urn:microsoft.com/office/officeart/2005/8/layout/orgChart1"/>
    <dgm:cxn modelId="{93F6D1DB-B89C-4315-AA8E-2055CC1FDF84}" type="presOf" srcId="{A5F7E52B-2467-4FAB-B962-C1F535D92A5C}" destId="{C0346B89-EB4F-4C4B-BA64-1504E8A32CC6}" srcOrd="0" destOrd="0" presId="urn:microsoft.com/office/officeart/2005/8/layout/orgChart1"/>
    <dgm:cxn modelId="{BB2B05DF-18E2-4D1C-8AF9-034703B691D5}" srcId="{8BEBC7FB-DCCC-46CD-AEE5-B6C32092949E}" destId="{7CDDC5F2-D378-49D2-AA8D-235164CB9DC9}" srcOrd="1" destOrd="0" parTransId="{75DA4344-7CF5-4120-837D-BC24F1C5AE01}" sibTransId="{2B832B89-BEF4-42ED-8AA8-2B6116467ED9}"/>
    <dgm:cxn modelId="{5CAC21EB-A6DD-4841-ACD4-033D367069DE}" type="presOf" srcId="{93C29F5F-CB09-484B-AB87-8AF8594D2F0F}" destId="{55F50C93-14F7-41B2-89AB-6B7979D60000}" srcOrd="1" destOrd="0" presId="urn:microsoft.com/office/officeart/2005/8/layout/orgChart1"/>
    <dgm:cxn modelId="{707215EC-BC22-452C-92D4-7529FF618E5A}" type="presOf" srcId="{BF2BFED7-EDDB-455A-B250-A8A78271B24D}" destId="{DC9E4F52-1117-486B-BA04-FEE77FA688A3}" srcOrd="1" destOrd="0" presId="urn:microsoft.com/office/officeart/2005/8/layout/orgChart1"/>
    <dgm:cxn modelId="{41D01FF3-1E2C-49C4-94FA-F4B840544715}" type="presOf" srcId="{DEB36DA2-6827-4607-BE47-8F97317C1FB3}" destId="{170C9485-8281-4012-8175-0034C94BA4A8}" srcOrd="1" destOrd="0" presId="urn:microsoft.com/office/officeart/2005/8/layout/orgChart1"/>
    <dgm:cxn modelId="{EF8CADFA-3A16-44EF-B8CD-BEAA6ABFFC9B}" type="presOf" srcId="{DEB36DA2-6827-4607-BE47-8F97317C1FB3}" destId="{536D7D0F-42D2-4CC2-88CF-7EE0A9140D85}" srcOrd="0" destOrd="0" presId="urn:microsoft.com/office/officeart/2005/8/layout/orgChart1"/>
    <dgm:cxn modelId="{BBB7F2FC-C10D-4DFC-8CBD-D2E48CA0836C}" type="presOf" srcId="{7CDDC5F2-D378-49D2-AA8D-235164CB9DC9}" destId="{92CA905F-3A94-4F49-8253-50DB46DE2B0A}" srcOrd="0" destOrd="0" presId="urn:microsoft.com/office/officeart/2005/8/layout/orgChart1"/>
    <dgm:cxn modelId="{98ED1619-3B14-4CB6-9395-7CA105E5E5A5}" type="presParOf" srcId="{AC6970D9-210B-4CCB-B87F-38F054CB42CA}" destId="{0973D7E4-469D-4B77-8DC3-E5988A4FECB2}" srcOrd="0" destOrd="0" presId="urn:microsoft.com/office/officeart/2005/8/layout/orgChart1"/>
    <dgm:cxn modelId="{9AEB3A4C-CE5A-4863-87D7-F26CEC1C1082}" type="presParOf" srcId="{0973D7E4-469D-4B77-8DC3-E5988A4FECB2}" destId="{D2F18308-9DFC-4BF1-B926-0CBE14AF39C0}" srcOrd="0" destOrd="0" presId="urn:microsoft.com/office/officeart/2005/8/layout/orgChart1"/>
    <dgm:cxn modelId="{7C30CAC9-AF5E-46CA-B2AC-4F087292620F}" type="presParOf" srcId="{D2F18308-9DFC-4BF1-B926-0CBE14AF39C0}" destId="{9555D650-9B55-4BA1-AAA1-A1C2C453D763}" srcOrd="0" destOrd="0" presId="urn:microsoft.com/office/officeart/2005/8/layout/orgChart1"/>
    <dgm:cxn modelId="{7C8AA3FA-3B44-4DBB-B91A-39B8F4F111D2}" type="presParOf" srcId="{D2F18308-9DFC-4BF1-B926-0CBE14AF39C0}" destId="{77620163-D56F-4AEE-B08C-30243DD53061}" srcOrd="1" destOrd="0" presId="urn:microsoft.com/office/officeart/2005/8/layout/orgChart1"/>
    <dgm:cxn modelId="{A7882370-1204-4AD8-A3E5-8176296496DC}" type="presParOf" srcId="{0973D7E4-469D-4B77-8DC3-E5988A4FECB2}" destId="{7381AE6F-F513-495A-A49A-CF74E16BFCF4}" srcOrd="1" destOrd="0" presId="urn:microsoft.com/office/officeart/2005/8/layout/orgChart1"/>
    <dgm:cxn modelId="{9DA00E94-ED67-4903-B579-565223676274}" type="presParOf" srcId="{7381AE6F-F513-495A-A49A-CF74E16BFCF4}" destId="{0E2EC6B3-E76B-4B47-AE97-F47056A50480}" srcOrd="0" destOrd="0" presId="urn:microsoft.com/office/officeart/2005/8/layout/orgChart1"/>
    <dgm:cxn modelId="{C007ABD8-C92A-4291-BDB5-5D48CEF36C47}" type="presParOf" srcId="{7381AE6F-F513-495A-A49A-CF74E16BFCF4}" destId="{3A9DC223-97A9-47DC-8360-723D64A82862}" srcOrd="1" destOrd="0" presId="urn:microsoft.com/office/officeart/2005/8/layout/orgChart1"/>
    <dgm:cxn modelId="{02BB1C21-3FF8-4954-9BC0-C47E77DC9944}" type="presParOf" srcId="{3A9DC223-97A9-47DC-8360-723D64A82862}" destId="{F2C8D598-529B-40E8-A96C-9BA758ABF685}" srcOrd="0" destOrd="0" presId="urn:microsoft.com/office/officeart/2005/8/layout/orgChart1"/>
    <dgm:cxn modelId="{0730462A-B1F7-492F-888F-43109B9CBD2F}" type="presParOf" srcId="{F2C8D598-529B-40E8-A96C-9BA758ABF685}" destId="{C6266DDB-3FAA-4ECB-A052-D43B180C189F}" srcOrd="0" destOrd="0" presId="urn:microsoft.com/office/officeart/2005/8/layout/orgChart1"/>
    <dgm:cxn modelId="{6859525F-7BBE-423C-8D90-216BAF6E405A}" type="presParOf" srcId="{F2C8D598-529B-40E8-A96C-9BA758ABF685}" destId="{B54CD0F3-AFF8-4767-BD8D-44B5C97644EA}" srcOrd="1" destOrd="0" presId="urn:microsoft.com/office/officeart/2005/8/layout/orgChart1"/>
    <dgm:cxn modelId="{E7154C16-D588-4E50-8EBC-5D996A114E1C}" type="presParOf" srcId="{3A9DC223-97A9-47DC-8360-723D64A82862}" destId="{F8393379-F4DB-4D63-A21A-B1B953E3CBDB}" srcOrd="1" destOrd="0" presId="urn:microsoft.com/office/officeart/2005/8/layout/orgChart1"/>
    <dgm:cxn modelId="{638CF065-459D-403C-93B6-E01A064C7DEC}" type="presParOf" srcId="{F8393379-F4DB-4D63-A21A-B1B953E3CBDB}" destId="{12B0D492-0C60-46D3-A144-C82C5A61CFF0}" srcOrd="0" destOrd="0" presId="urn:microsoft.com/office/officeart/2005/8/layout/orgChart1"/>
    <dgm:cxn modelId="{C7DDDBA1-4D07-457B-90B6-28CFF0789A2C}" type="presParOf" srcId="{F8393379-F4DB-4D63-A21A-B1B953E3CBDB}" destId="{89CF543A-C866-46B9-81A4-A790614EF83B}" srcOrd="1" destOrd="0" presId="urn:microsoft.com/office/officeart/2005/8/layout/orgChart1"/>
    <dgm:cxn modelId="{8D463221-6FEE-4EF7-983E-42A5D2CECB95}" type="presParOf" srcId="{89CF543A-C866-46B9-81A4-A790614EF83B}" destId="{B0EB2C28-594B-4A80-9D9A-8BF5BCB2F4D6}" srcOrd="0" destOrd="0" presId="urn:microsoft.com/office/officeart/2005/8/layout/orgChart1"/>
    <dgm:cxn modelId="{6B371A35-2CAA-4A05-B2D0-90242C93A7A6}" type="presParOf" srcId="{B0EB2C28-594B-4A80-9D9A-8BF5BCB2F4D6}" destId="{5207BFD0-2A1D-4E92-959B-3809AD0F3B5B}" srcOrd="0" destOrd="0" presId="urn:microsoft.com/office/officeart/2005/8/layout/orgChart1"/>
    <dgm:cxn modelId="{03785F6E-84D4-4FC1-B674-BC795397AB21}" type="presParOf" srcId="{B0EB2C28-594B-4A80-9D9A-8BF5BCB2F4D6}" destId="{B96B0DA1-B3E9-44CB-89A3-843926E65E8A}" srcOrd="1" destOrd="0" presId="urn:microsoft.com/office/officeart/2005/8/layout/orgChart1"/>
    <dgm:cxn modelId="{91D43300-1286-4AB8-8648-582F1A32568E}" type="presParOf" srcId="{89CF543A-C866-46B9-81A4-A790614EF83B}" destId="{01271767-0046-4AC5-8BCC-C76062805F25}" srcOrd="1" destOrd="0" presId="urn:microsoft.com/office/officeart/2005/8/layout/orgChart1"/>
    <dgm:cxn modelId="{6A8DF133-3133-4FE4-ACFD-5F752E2D4EDC}" type="presParOf" srcId="{89CF543A-C866-46B9-81A4-A790614EF83B}" destId="{8249A003-1AAB-4794-8663-71B6781F5166}" srcOrd="2" destOrd="0" presId="urn:microsoft.com/office/officeart/2005/8/layout/orgChart1"/>
    <dgm:cxn modelId="{F23A499C-D7AC-40AF-BE7B-6D4E37A6A54C}" type="presParOf" srcId="{F8393379-F4DB-4D63-A21A-B1B953E3CBDB}" destId="{20C71240-BFFE-445A-A1ED-4309266B267E}" srcOrd="2" destOrd="0" presId="urn:microsoft.com/office/officeart/2005/8/layout/orgChart1"/>
    <dgm:cxn modelId="{BC3A6750-A844-48CE-82EF-103E3C071F8F}" type="presParOf" srcId="{F8393379-F4DB-4D63-A21A-B1B953E3CBDB}" destId="{F968AA81-8FD1-4508-BD08-92957B788CF4}" srcOrd="3" destOrd="0" presId="urn:microsoft.com/office/officeart/2005/8/layout/orgChart1"/>
    <dgm:cxn modelId="{8B3FFD86-A8D5-4669-A824-A6403FB02309}" type="presParOf" srcId="{F968AA81-8FD1-4508-BD08-92957B788CF4}" destId="{B199FC6B-05B4-42D2-B9EB-A86D0AED1859}" srcOrd="0" destOrd="0" presId="urn:microsoft.com/office/officeart/2005/8/layout/orgChart1"/>
    <dgm:cxn modelId="{196BD970-BE02-41F0-89E0-55D5EFDFE551}" type="presParOf" srcId="{B199FC6B-05B4-42D2-B9EB-A86D0AED1859}" destId="{BB1DF441-5B8B-439D-8C5D-776D83DECC07}" srcOrd="0" destOrd="0" presId="urn:microsoft.com/office/officeart/2005/8/layout/orgChart1"/>
    <dgm:cxn modelId="{E8EEF46D-B258-4690-A475-367DFE7F883A}" type="presParOf" srcId="{B199FC6B-05B4-42D2-B9EB-A86D0AED1859}" destId="{D18BBBF0-F18B-4EB4-8A8C-BD76A7472F86}" srcOrd="1" destOrd="0" presId="urn:microsoft.com/office/officeart/2005/8/layout/orgChart1"/>
    <dgm:cxn modelId="{3384C61A-A38A-4283-8373-A67D9120B822}" type="presParOf" srcId="{F968AA81-8FD1-4508-BD08-92957B788CF4}" destId="{74013851-E117-490E-9319-44E7E6F486C4}" srcOrd="1" destOrd="0" presId="urn:microsoft.com/office/officeart/2005/8/layout/orgChart1"/>
    <dgm:cxn modelId="{BEDC9547-EA09-4809-832C-94035A260EEB}" type="presParOf" srcId="{F968AA81-8FD1-4508-BD08-92957B788CF4}" destId="{506B8B96-99A0-4BEB-AE3D-E1B5A7FB6535}" srcOrd="2" destOrd="0" presId="urn:microsoft.com/office/officeart/2005/8/layout/orgChart1"/>
    <dgm:cxn modelId="{93EF01C3-F26A-4D59-9287-C70D556D71A6}" type="presParOf" srcId="{3A9DC223-97A9-47DC-8360-723D64A82862}" destId="{0CC9122C-81DC-4C76-ABB6-3AC14C4737A6}" srcOrd="2" destOrd="0" presId="urn:microsoft.com/office/officeart/2005/8/layout/orgChart1"/>
    <dgm:cxn modelId="{032670FA-3989-4FB4-A7F7-EB8048EB365E}" type="presParOf" srcId="{7381AE6F-F513-495A-A49A-CF74E16BFCF4}" destId="{E0A03FAF-9656-41F1-90B6-AA6AB4E03A25}" srcOrd="2" destOrd="0" presId="urn:microsoft.com/office/officeart/2005/8/layout/orgChart1"/>
    <dgm:cxn modelId="{2B7B6480-0E41-418E-B41A-91A77F9B0686}" type="presParOf" srcId="{7381AE6F-F513-495A-A49A-CF74E16BFCF4}" destId="{DDB5CD23-1685-45F9-9F71-BBD9DC18FA23}" srcOrd="3" destOrd="0" presId="urn:microsoft.com/office/officeart/2005/8/layout/orgChart1"/>
    <dgm:cxn modelId="{B90F3DC3-4397-45F2-887F-9295638AD955}" type="presParOf" srcId="{DDB5CD23-1685-45F9-9F71-BBD9DC18FA23}" destId="{0031D6F4-D2B0-4E95-9F43-21D944ADE2F6}" srcOrd="0" destOrd="0" presId="urn:microsoft.com/office/officeart/2005/8/layout/orgChart1"/>
    <dgm:cxn modelId="{3C81681E-C9D6-4D55-B744-03A29259CCB9}" type="presParOf" srcId="{0031D6F4-D2B0-4E95-9F43-21D944ADE2F6}" destId="{E502DDEE-2669-4730-BAFC-B1AFDE4BA2CA}" srcOrd="0" destOrd="0" presId="urn:microsoft.com/office/officeart/2005/8/layout/orgChart1"/>
    <dgm:cxn modelId="{BC55ED26-6511-4815-972C-45C7036462F9}" type="presParOf" srcId="{0031D6F4-D2B0-4E95-9F43-21D944ADE2F6}" destId="{1E0DF881-DB96-4B90-B55A-AE4F59906FB2}" srcOrd="1" destOrd="0" presId="urn:microsoft.com/office/officeart/2005/8/layout/orgChart1"/>
    <dgm:cxn modelId="{1BB68301-B9E0-4ADF-8A40-1562E3F9E177}" type="presParOf" srcId="{DDB5CD23-1685-45F9-9F71-BBD9DC18FA23}" destId="{FDDB75F3-3793-40F0-81F0-B345AC6BAD8D}" srcOrd="1" destOrd="0" presId="urn:microsoft.com/office/officeart/2005/8/layout/orgChart1"/>
    <dgm:cxn modelId="{0565BF0C-8D26-4107-B85B-CE309A17625A}" type="presParOf" srcId="{FDDB75F3-3793-40F0-81F0-B345AC6BAD8D}" destId="{50F9B66E-385D-46AE-8F44-A8DE5EAF269C}" srcOrd="0" destOrd="0" presId="urn:microsoft.com/office/officeart/2005/8/layout/orgChart1"/>
    <dgm:cxn modelId="{54BCF7C0-CAB5-4017-92D1-4A34B7B549CC}" type="presParOf" srcId="{FDDB75F3-3793-40F0-81F0-B345AC6BAD8D}" destId="{A82C4453-70FF-4E20-97E8-B710A1B1A7CF}" srcOrd="1" destOrd="0" presId="urn:microsoft.com/office/officeart/2005/8/layout/orgChart1"/>
    <dgm:cxn modelId="{322C8DCC-BF13-48C4-B2E1-2F6A7279F752}" type="presParOf" srcId="{A82C4453-70FF-4E20-97E8-B710A1B1A7CF}" destId="{0900FEC8-87D7-499D-B728-DD1FD25F3C30}" srcOrd="0" destOrd="0" presId="urn:microsoft.com/office/officeart/2005/8/layout/orgChart1"/>
    <dgm:cxn modelId="{9758C658-EDD8-4180-A55D-6960700EE9EB}" type="presParOf" srcId="{0900FEC8-87D7-499D-B728-DD1FD25F3C30}" destId="{536D7D0F-42D2-4CC2-88CF-7EE0A9140D85}" srcOrd="0" destOrd="0" presId="urn:microsoft.com/office/officeart/2005/8/layout/orgChart1"/>
    <dgm:cxn modelId="{DED07621-68CF-42EE-B994-600BB6F851C6}" type="presParOf" srcId="{0900FEC8-87D7-499D-B728-DD1FD25F3C30}" destId="{170C9485-8281-4012-8175-0034C94BA4A8}" srcOrd="1" destOrd="0" presId="urn:microsoft.com/office/officeart/2005/8/layout/orgChart1"/>
    <dgm:cxn modelId="{182A3241-717A-4F82-B0D8-3D305B414FC0}" type="presParOf" srcId="{A82C4453-70FF-4E20-97E8-B710A1B1A7CF}" destId="{BE068667-08A9-4CE2-A740-53F95F36B420}" srcOrd="1" destOrd="0" presId="urn:microsoft.com/office/officeart/2005/8/layout/orgChart1"/>
    <dgm:cxn modelId="{8F477C47-B1E2-4BE6-8EBF-8E88DB1D1629}" type="presParOf" srcId="{A82C4453-70FF-4E20-97E8-B710A1B1A7CF}" destId="{CABDEF33-0332-4AA7-A948-D1784C7C7A01}" srcOrd="2" destOrd="0" presId="urn:microsoft.com/office/officeart/2005/8/layout/orgChart1"/>
    <dgm:cxn modelId="{6C794BA2-7805-47DD-AB20-2BD566FCDBB7}" type="presParOf" srcId="{FDDB75F3-3793-40F0-81F0-B345AC6BAD8D}" destId="{682CDFC6-8267-47CD-AA74-C5A5AFAFEC5A}" srcOrd="2" destOrd="0" presId="urn:microsoft.com/office/officeart/2005/8/layout/orgChart1"/>
    <dgm:cxn modelId="{36CBE537-C796-4808-985B-EB86AB28CA57}" type="presParOf" srcId="{FDDB75F3-3793-40F0-81F0-B345AC6BAD8D}" destId="{5F02A59D-44B1-4796-994A-977E1C9D600C}" srcOrd="3" destOrd="0" presId="urn:microsoft.com/office/officeart/2005/8/layout/orgChart1"/>
    <dgm:cxn modelId="{1B9DF08D-42B4-4CBC-BEB3-92BF877A0002}" type="presParOf" srcId="{5F02A59D-44B1-4796-994A-977E1C9D600C}" destId="{854E64F6-6EE0-4A1D-9D0B-87C54952DA49}" srcOrd="0" destOrd="0" presId="urn:microsoft.com/office/officeart/2005/8/layout/orgChart1"/>
    <dgm:cxn modelId="{2CF278C0-E3B5-4C6A-8AA6-2528587D4E8E}" type="presParOf" srcId="{854E64F6-6EE0-4A1D-9D0B-87C54952DA49}" destId="{BA67BF8A-06CB-40A5-9357-4D5A80ACEC00}" srcOrd="0" destOrd="0" presId="urn:microsoft.com/office/officeart/2005/8/layout/orgChart1"/>
    <dgm:cxn modelId="{0639E82D-9E97-4FAD-8B80-BC0610033F19}" type="presParOf" srcId="{854E64F6-6EE0-4A1D-9D0B-87C54952DA49}" destId="{55F50C93-14F7-41B2-89AB-6B7979D60000}" srcOrd="1" destOrd="0" presId="urn:microsoft.com/office/officeart/2005/8/layout/orgChart1"/>
    <dgm:cxn modelId="{F7552958-5D09-4470-B211-8C250C204956}" type="presParOf" srcId="{5F02A59D-44B1-4796-994A-977E1C9D600C}" destId="{8DB2ABF2-40CF-4C5A-AB12-944C609660D0}" srcOrd="1" destOrd="0" presId="urn:microsoft.com/office/officeart/2005/8/layout/orgChart1"/>
    <dgm:cxn modelId="{25F23AAA-F863-4838-A6A4-BEEF576A97D6}" type="presParOf" srcId="{5F02A59D-44B1-4796-994A-977E1C9D600C}" destId="{ECC682BE-0D62-4868-91E0-A9D7057432B9}" srcOrd="2" destOrd="0" presId="urn:microsoft.com/office/officeart/2005/8/layout/orgChart1"/>
    <dgm:cxn modelId="{A0AB7AE2-7884-4C3A-A1C8-6880BA08FC8D}" type="presParOf" srcId="{DDB5CD23-1685-45F9-9F71-BBD9DC18FA23}" destId="{3EA51ED8-B3C7-4D2D-8555-08F29D5A98DA}" srcOrd="2" destOrd="0" presId="urn:microsoft.com/office/officeart/2005/8/layout/orgChart1"/>
    <dgm:cxn modelId="{F2E8F31A-9181-45FA-A4E5-CB75CEC35761}" type="presParOf" srcId="{7381AE6F-F513-495A-A49A-CF74E16BFCF4}" destId="{C0346B89-EB4F-4C4B-BA64-1504E8A32CC6}" srcOrd="4" destOrd="0" presId="urn:microsoft.com/office/officeart/2005/8/layout/orgChart1"/>
    <dgm:cxn modelId="{EEFD2BC4-F480-48EB-88E0-07370E8A592A}" type="presParOf" srcId="{7381AE6F-F513-495A-A49A-CF74E16BFCF4}" destId="{712A264B-D725-4ABD-AA9A-4A5D0C2CDA05}" srcOrd="5" destOrd="0" presId="urn:microsoft.com/office/officeart/2005/8/layout/orgChart1"/>
    <dgm:cxn modelId="{CC1008C6-CCB0-4B2A-9D21-B94FA3156888}" type="presParOf" srcId="{712A264B-D725-4ABD-AA9A-4A5D0C2CDA05}" destId="{A7B2B0B5-C6A9-4E75-A639-CC0775820FB1}" srcOrd="0" destOrd="0" presId="urn:microsoft.com/office/officeart/2005/8/layout/orgChart1"/>
    <dgm:cxn modelId="{B99B3349-B58A-44D8-B9C9-665021E6DA70}" type="presParOf" srcId="{A7B2B0B5-C6A9-4E75-A639-CC0775820FB1}" destId="{340FCC41-118E-4857-9F2D-0BF18256A1D1}" srcOrd="0" destOrd="0" presId="urn:microsoft.com/office/officeart/2005/8/layout/orgChart1"/>
    <dgm:cxn modelId="{F4B7D511-1581-4379-BCC8-4FEEBBACE1C6}" type="presParOf" srcId="{A7B2B0B5-C6A9-4E75-A639-CC0775820FB1}" destId="{3E0FD7DE-8B34-41D8-A557-FA4546658D58}" srcOrd="1" destOrd="0" presId="urn:microsoft.com/office/officeart/2005/8/layout/orgChart1"/>
    <dgm:cxn modelId="{70AE5389-266C-4E95-97E7-8D666FB008A2}" type="presParOf" srcId="{712A264B-D725-4ABD-AA9A-4A5D0C2CDA05}" destId="{E1B9925A-013C-4481-8EC5-EDE9108E9A70}" srcOrd="1" destOrd="0" presId="urn:microsoft.com/office/officeart/2005/8/layout/orgChart1"/>
    <dgm:cxn modelId="{7BF3D5ED-1A75-485F-9302-6F5D7665DE65}" type="presParOf" srcId="{E1B9925A-013C-4481-8EC5-EDE9108E9A70}" destId="{02D56106-7A09-49B6-899E-D2E84C1476C8}" srcOrd="0" destOrd="0" presId="urn:microsoft.com/office/officeart/2005/8/layout/orgChart1"/>
    <dgm:cxn modelId="{2174536D-8A1C-49D1-8EE0-942C1938EC23}" type="presParOf" srcId="{E1B9925A-013C-4481-8EC5-EDE9108E9A70}" destId="{DC60A5BB-7A3F-4674-9E40-FAC3339F054E}" srcOrd="1" destOrd="0" presId="urn:microsoft.com/office/officeart/2005/8/layout/orgChart1"/>
    <dgm:cxn modelId="{2B0C42F7-B812-4501-B005-76D8470B69EF}" type="presParOf" srcId="{DC60A5BB-7A3F-4674-9E40-FAC3339F054E}" destId="{CD7BFB08-1D7D-439F-84D1-56118FBD16CB}" srcOrd="0" destOrd="0" presId="urn:microsoft.com/office/officeart/2005/8/layout/orgChart1"/>
    <dgm:cxn modelId="{3F081615-573C-4634-B124-5772C9CF44EC}" type="presParOf" srcId="{CD7BFB08-1D7D-439F-84D1-56118FBD16CB}" destId="{E900DD85-5800-4D36-8038-2BE7C2B06C38}" srcOrd="0" destOrd="0" presId="urn:microsoft.com/office/officeart/2005/8/layout/orgChart1"/>
    <dgm:cxn modelId="{C228E9C8-5B22-4D12-98D0-E72E008FB245}" type="presParOf" srcId="{CD7BFB08-1D7D-439F-84D1-56118FBD16CB}" destId="{DC9E4F52-1117-486B-BA04-FEE77FA688A3}" srcOrd="1" destOrd="0" presId="urn:microsoft.com/office/officeart/2005/8/layout/orgChart1"/>
    <dgm:cxn modelId="{098F2618-770F-446B-B433-A421D74A7A04}" type="presParOf" srcId="{DC60A5BB-7A3F-4674-9E40-FAC3339F054E}" destId="{65722E9C-1BFB-4A74-BB50-105A5A2FAEA3}" srcOrd="1" destOrd="0" presId="urn:microsoft.com/office/officeart/2005/8/layout/orgChart1"/>
    <dgm:cxn modelId="{CADA8B57-6B26-4CF0-AEE2-1657F7708F14}" type="presParOf" srcId="{DC60A5BB-7A3F-4674-9E40-FAC3339F054E}" destId="{CB833596-AA82-430F-9DDD-7DDFF84C2913}" srcOrd="2" destOrd="0" presId="urn:microsoft.com/office/officeart/2005/8/layout/orgChart1"/>
    <dgm:cxn modelId="{B808F429-745B-4020-AE82-3F221BDA0EC6}" type="presParOf" srcId="{E1B9925A-013C-4481-8EC5-EDE9108E9A70}" destId="{45E2A1CD-3EE7-448A-9089-2A6141C0F0B5}" srcOrd="2" destOrd="0" presId="urn:microsoft.com/office/officeart/2005/8/layout/orgChart1"/>
    <dgm:cxn modelId="{63B70475-8C0D-4E10-AC83-6F0C5294EFB6}" type="presParOf" srcId="{E1B9925A-013C-4481-8EC5-EDE9108E9A70}" destId="{D5DDEFB5-A457-4E30-B376-7C0D9673AF83}" srcOrd="3" destOrd="0" presId="urn:microsoft.com/office/officeart/2005/8/layout/orgChart1"/>
    <dgm:cxn modelId="{4B04F589-51A4-4F8B-BFE7-E27998F0CB83}" type="presParOf" srcId="{D5DDEFB5-A457-4E30-B376-7C0D9673AF83}" destId="{696ACACA-8664-49FC-84B2-EDD4BD44D10B}" srcOrd="0" destOrd="0" presId="urn:microsoft.com/office/officeart/2005/8/layout/orgChart1"/>
    <dgm:cxn modelId="{F3BA709F-289C-4CA6-BB65-C76443A96BE3}" type="presParOf" srcId="{696ACACA-8664-49FC-84B2-EDD4BD44D10B}" destId="{7D40EF6E-EB20-464E-A9E3-3FCF8BBD6E71}" srcOrd="0" destOrd="0" presId="urn:microsoft.com/office/officeart/2005/8/layout/orgChart1"/>
    <dgm:cxn modelId="{1A112EA2-922C-4747-B421-ED5909AEE90E}" type="presParOf" srcId="{696ACACA-8664-49FC-84B2-EDD4BD44D10B}" destId="{0A62A888-16B3-4743-A489-89B06A865797}" srcOrd="1" destOrd="0" presId="urn:microsoft.com/office/officeart/2005/8/layout/orgChart1"/>
    <dgm:cxn modelId="{4D27C160-A20F-4122-A95D-BAE63F0DC415}" type="presParOf" srcId="{D5DDEFB5-A457-4E30-B376-7C0D9673AF83}" destId="{75100ABE-B9A9-4ACC-AFD8-C49123381570}" srcOrd="1" destOrd="0" presId="urn:microsoft.com/office/officeart/2005/8/layout/orgChart1"/>
    <dgm:cxn modelId="{671F3B39-F6F2-473B-8E39-D35F7F2F4243}" type="presParOf" srcId="{D5DDEFB5-A457-4E30-B376-7C0D9673AF83}" destId="{13F58407-8192-4A45-A9DD-0B0B036BEC2F}" srcOrd="2" destOrd="0" presId="urn:microsoft.com/office/officeart/2005/8/layout/orgChart1"/>
    <dgm:cxn modelId="{74331D80-E7DC-489D-B7A9-7BA8ED3E5515}" type="presParOf" srcId="{712A264B-D725-4ABD-AA9A-4A5D0C2CDA05}" destId="{0EA126CB-94C9-425A-B6BE-EC6D7BBB6A7D}" srcOrd="2" destOrd="0" presId="urn:microsoft.com/office/officeart/2005/8/layout/orgChart1"/>
    <dgm:cxn modelId="{7E5DEC46-43ED-43F3-8074-4A5EE6CC1EAC}" type="presParOf" srcId="{7381AE6F-F513-495A-A49A-CF74E16BFCF4}" destId="{9F32A0AD-CFDA-4564-9E8C-FF173C2B8CDA}" srcOrd="6" destOrd="0" presId="urn:microsoft.com/office/officeart/2005/8/layout/orgChart1"/>
    <dgm:cxn modelId="{C290D078-ACC5-4F73-BF47-3B5764D61743}" type="presParOf" srcId="{7381AE6F-F513-495A-A49A-CF74E16BFCF4}" destId="{6DE16955-F9F8-4F87-B8C0-88F2EA527A44}" srcOrd="7" destOrd="0" presId="urn:microsoft.com/office/officeart/2005/8/layout/orgChart1"/>
    <dgm:cxn modelId="{E2DFC4C6-755E-47DE-AD5C-BE065523D6C0}" type="presParOf" srcId="{6DE16955-F9F8-4F87-B8C0-88F2EA527A44}" destId="{48F62EE8-D635-4D86-B59D-3AE9BF81113E}" srcOrd="0" destOrd="0" presId="urn:microsoft.com/office/officeart/2005/8/layout/orgChart1"/>
    <dgm:cxn modelId="{E9205DDC-2A83-4A55-B761-425A20C15FA0}" type="presParOf" srcId="{48F62EE8-D635-4D86-B59D-3AE9BF81113E}" destId="{D618B7C0-6F5C-468D-A4C1-1518BA85465F}" srcOrd="0" destOrd="0" presId="urn:microsoft.com/office/officeart/2005/8/layout/orgChart1"/>
    <dgm:cxn modelId="{6E6D1CBC-A2F7-45FD-BFE5-37CF3B182653}" type="presParOf" srcId="{48F62EE8-D635-4D86-B59D-3AE9BF81113E}" destId="{A4FCF078-9404-41EA-9E18-D1F0EEBFB80A}" srcOrd="1" destOrd="0" presId="urn:microsoft.com/office/officeart/2005/8/layout/orgChart1"/>
    <dgm:cxn modelId="{E5BD17BE-112C-46D3-8E97-0094AA41D5FD}" type="presParOf" srcId="{6DE16955-F9F8-4F87-B8C0-88F2EA527A44}" destId="{39840B18-B770-4349-936B-13CA1A19B5CA}" srcOrd="1" destOrd="0" presId="urn:microsoft.com/office/officeart/2005/8/layout/orgChart1"/>
    <dgm:cxn modelId="{95EE627B-70B8-4FF0-8172-DBDD78EE5C72}" type="presParOf" srcId="{39840B18-B770-4349-936B-13CA1A19B5CA}" destId="{15DC07A4-93F4-4CCE-A031-A69CEA301CE3}" srcOrd="0" destOrd="0" presId="urn:microsoft.com/office/officeart/2005/8/layout/orgChart1"/>
    <dgm:cxn modelId="{A3BF38A6-9E70-4B7A-91C1-E19103103681}" type="presParOf" srcId="{39840B18-B770-4349-936B-13CA1A19B5CA}" destId="{55BC2318-EA4E-4CFC-BB02-D12CB28497FB}" srcOrd="1" destOrd="0" presId="urn:microsoft.com/office/officeart/2005/8/layout/orgChart1"/>
    <dgm:cxn modelId="{1DA680AF-0563-4AA2-A41E-5F718CDD6327}" type="presParOf" srcId="{55BC2318-EA4E-4CFC-BB02-D12CB28497FB}" destId="{7B41E1D6-D772-430D-A7B1-B164BCA9B8B2}" srcOrd="0" destOrd="0" presId="urn:microsoft.com/office/officeart/2005/8/layout/orgChart1"/>
    <dgm:cxn modelId="{1780511F-8ED9-40D2-8DDC-B6D1AF588E95}" type="presParOf" srcId="{7B41E1D6-D772-430D-A7B1-B164BCA9B8B2}" destId="{16D252CE-933C-48D5-8F1D-41138ED1F066}" srcOrd="0" destOrd="0" presId="urn:microsoft.com/office/officeart/2005/8/layout/orgChart1"/>
    <dgm:cxn modelId="{E1A1B30A-1513-4540-BA71-07B01DB496A9}" type="presParOf" srcId="{7B41E1D6-D772-430D-A7B1-B164BCA9B8B2}" destId="{738F4FEC-8B67-419E-ACAC-83C592F6630E}" srcOrd="1" destOrd="0" presId="urn:microsoft.com/office/officeart/2005/8/layout/orgChart1"/>
    <dgm:cxn modelId="{0417ACD6-B96B-4131-9FB2-B461A15C8E66}" type="presParOf" srcId="{55BC2318-EA4E-4CFC-BB02-D12CB28497FB}" destId="{A1BF3818-D1F4-4987-A83A-D6CC3A58D08F}" srcOrd="1" destOrd="0" presId="urn:microsoft.com/office/officeart/2005/8/layout/orgChart1"/>
    <dgm:cxn modelId="{3ED7C74B-0A44-4651-AB54-A363BDDFBA1E}" type="presParOf" srcId="{55BC2318-EA4E-4CFC-BB02-D12CB28497FB}" destId="{0C2F1ACF-36F5-4D0B-B59C-7C23C7DD57E4}" srcOrd="2" destOrd="0" presId="urn:microsoft.com/office/officeart/2005/8/layout/orgChart1"/>
    <dgm:cxn modelId="{46905789-839D-4D1E-8C3B-725A18DF651B}" type="presParOf" srcId="{39840B18-B770-4349-936B-13CA1A19B5CA}" destId="{142F4899-082A-43DC-84F0-DFD329DF422C}" srcOrd="2" destOrd="0" presId="urn:microsoft.com/office/officeart/2005/8/layout/orgChart1"/>
    <dgm:cxn modelId="{DDFF3BFA-7AF8-4A93-BC4A-28D523A67DEE}" type="presParOf" srcId="{39840B18-B770-4349-936B-13CA1A19B5CA}" destId="{23941355-0D94-421C-8F16-F8A5F81AB5C1}" srcOrd="3" destOrd="0" presId="urn:microsoft.com/office/officeart/2005/8/layout/orgChart1"/>
    <dgm:cxn modelId="{423BA9C4-0225-4FC9-B3D3-640663A314A8}" type="presParOf" srcId="{23941355-0D94-421C-8F16-F8A5F81AB5C1}" destId="{B7D3DF5C-BA8F-4907-90E1-6DFA358492D3}" srcOrd="0" destOrd="0" presId="urn:microsoft.com/office/officeart/2005/8/layout/orgChart1"/>
    <dgm:cxn modelId="{99DFA65F-5C85-4B20-9671-7745CE0F393F}" type="presParOf" srcId="{B7D3DF5C-BA8F-4907-90E1-6DFA358492D3}" destId="{92CA905F-3A94-4F49-8253-50DB46DE2B0A}" srcOrd="0" destOrd="0" presId="urn:microsoft.com/office/officeart/2005/8/layout/orgChart1"/>
    <dgm:cxn modelId="{93142D89-E388-4CFC-8B08-DF01261CC141}" type="presParOf" srcId="{B7D3DF5C-BA8F-4907-90E1-6DFA358492D3}" destId="{86FCF466-3F2D-46F3-A014-D3A199CC5F72}" srcOrd="1" destOrd="0" presId="urn:microsoft.com/office/officeart/2005/8/layout/orgChart1"/>
    <dgm:cxn modelId="{9C20F3FD-18A3-4967-B110-4E0B5529C2F7}" type="presParOf" srcId="{23941355-0D94-421C-8F16-F8A5F81AB5C1}" destId="{B8877299-904F-4BB4-803D-25B7CEB8D8E7}" srcOrd="1" destOrd="0" presId="urn:microsoft.com/office/officeart/2005/8/layout/orgChart1"/>
    <dgm:cxn modelId="{BD429D5C-CF02-4909-AA70-B199AC5AECED}" type="presParOf" srcId="{23941355-0D94-421C-8F16-F8A5F81AB5C1}" destId="{05507F43-4259-44F7-B6A4-8C8F75D69BD8}" srcOrd="2" destOrd="0" presId="urn:microsoft.com/office/officeart/2005/8/layout/orgChart1"/>
    <dgm:cxn modelId="{52A2B857-8315-4EEA-B1EB-C92FA8988770}" type="presParOf" srcId="{6DE16955-F9F8-4F87-B8C0-88F2EA527A44}" destId="{EA395E72-C643-4A26-BE6F-659ED2F6C888}" srcOrd="2" destOrd="0" presId="urn:microsoft.com/office/officeart/2005/8/layout/orgChart1"/>
    <dgm:cxn modelId="{37160D79-D388-4F11-86EC-3336E34915E6}" type="presParOf" srcId="{7381AE6F-F513-495A-A49A-CF74E16BFCF4}" destId="{0553A0BC-284B-4EF8-9D58-EF52CDB8C905}" srcOrd="8" destOrd="0" presId="urn:microsoft.com/office/officeart/2005/8/layout/orgChart1"/>
    <dgm:cxn modelId="{F3BA43B0-6B7D-4DF3-901D-56DC6ACBF9F8}" type="presParOf" srcId="{7381AE6F-F513-495A-A49A-CF74E16BFCF4}" destId="{B831C958-5B65-41F1-8D1E-405885EF69A5}" srcOrd="9" destOrd="0" presId="urn:microsoft.com/office/officeart/2005/8/layout/orgChart1"/>
    <dgm:cxn modelId="{6142A42E-CCDA-4478-A24C-D71D100E9B8F}" type="presParOf" srcId="{B831C958-5B65-41F1-8D1E-405885EF69A5}" destId="{0CBDE784-B2BD-45F5-A006-422F00B753DC}" srcOrd="0" destOrd="0" presId="urn:microsoft.com/office/officeart/2005/8/layout/orgChart1"/>
    <dgm:cxn modelId="{29C12C0D-8C68-4B1C-AFFF-9A61A5868319}" type="presParOf" srcId="{0CBDE784-B2BD-45F5-A006-422F00B753DC}" destId="{46A871CE-9F7E-460D-86F3-B1506085BF8B}" srcOrd="0" destOrd="0" presId="urn:microsoft.com/office/officeart/2005/8/layout/orgChart1"/>
    <dgm:cxn modelId="{4F9AED3B-317B-4888-ADBD-046E2C6FB576}" type="presParOf" srcId="{0CBDE784-B2BD-45F5-A006-422F00B753DC}" destId="{367195AB-B55C-410C-9867-5824CEAB3B9C}" srcOrd="1" destOrd="0" presId="urn:microsoft.com/office/officeart/2005/8/layout/orgChart1"/>
    <dgm:cxn modelId="{66629C23-2BAB-47F4-B1A7-2C9BE7C04E42}" type="presParOf" srcId="{B831C958-5B65-41F1-8D1E-405885EF69A5}" destId="{F03AF956-BBDB-43B1-8EFE-75E51DF8524D}" srcOrd="1" destOrd="0" presId="urn:microsoft.com/office/officeart/2005/8/layout/orgChart1"/>
    <dgm:cxn modelId="{E62BAD32-FFE7-4E07-BC85-7B2F8ED568F9}" type="presParOf" srcId="{F03AF956-BBDB-43B1-8EFE-75E51DF8524D}" destId="{67553A1D-967C-43B4-BA8A-2D692941E317}" srcOrd="0" destOrd="0" presId="urn:microsoft.com/office/officeart/2005/8/layout/orgChart1"/>
    <dgm:cxn modelId="{BA9335E9-28E8-46B6-8896-658D90903497}" type="presParOf" srcId="{F03AF956-BBDB-43B1-8EFE-75E51DF8524D}" destId="{1B921C22-3CBD-4279-86FA-9B88046D14A4}" srcOrd="1" destOrd="0" presId="urn:microsoft.com/office/officeart/2005/8/layout/orgChart1"/>
    <dgm:cxn modelId="{867A824E-26ED-4DBD-AB04-D8E33DB1B689}" type="presParOf" srcId="{1B921C22-3CBD-4279-86FA-9B88046D14A4}" destId="{ADCB6449-B295-4BE7-9F26-149FEFC26D47}" srcOrd="0" destOrd="0" presId="urn:microsoft.com/office/officeart/2005/8/layout/orgChart1"/>
    <dgm:cxn modelId="{6E7348A6-99B0-4274-815F-E8D23A7E4166}" type="presParOf" srcId="{ADCB6449-B295-4BE7-9F26-149FEFC26D47}" destId="{B095BA7F-7BBA-4FAF-B92C-3DC6E152C267}" srcOrd="0" destOrd="0" presId="urn:microsoft.com/office/officeart/2005/8/layout/orgChart1"/>
    <dgm:cxn modelId="{A006D3D8-31E3-43D0-A7DB-6278B0533CD4}" type="presParOf" srcId="{ADCB6449-B295-4BE7-9F26-149FEFC26D47}" destId="{8150D7CB-A406-4CEC-90AE-351180A5CB1A}" srcOrd="1" destOrd="0" presId="urn:microsoft.com/office/officeart/2005/8/layout/orgChart1"/>
    <dgm:cxn modelId="{F664A27F-7F35-4D3E-B922-75566F1A57CD}" type="presParOf" srcId="{1B921C22-3CBD-4279-86FA-9B88046D14A4}" destId="{9C9AE306-5CA0-42D7-BADC-D966EFC950A4}" srcOrd="1" destOrd="0" presId="urn:microsoft.com/office/officeart/2005/8/layout/orgChart1"/>
    <dgm:cxn modelId="{0198EC91-C614-4CC8-B2C1-C22667FD6FD9}" type="presParOf" srcId="{1B921C22-3CBD-4279-86FA-9B88046D14A4}" destId="{2E4BEBD4-2D37-4535-AEF5-293D412DDC6E}" srcOrd="2" destOrd="0" presId="urn:microsoft.com/office/officeart/2005/8/layout/orgChart1"/>
    <dgm:cxn modelId="{1E162941-A354-4199-A3F1-8793942C5356}" type="presParOf" srcId="{F03AF956-BBDB-43B1-8EFE-75E51DF8524D}" destId="{D875C413-9D93-47BC-9740-F5D80E38FCD7}" srcOrd="2" destOrd="0" presId="urn:microsoft.com/office/officeart/2005/8/layout/orgChart1"/>
    <dgm:cxn modelId="{D8A24816-3DFE-49D5-8E37-A9F0AFBC9522}" type="presParOf" srcId="{F03AF956-BBDB-43B1-8EFE-75E51DF8524D}" destId="{C8FCFE1F-5216-4C01-99C3-25BB9998A104}" srcOrd="3" destOrd="0" presId="urn:microsoft.com/office/officeart/2005/8/layout/orgChart1"/>
    <dgm:cxn modelId="{31DCA683-5852-4215-AE22-6D3B98F60D6D}" type="presParOf" srcId="{C8FCFE1F-5216-4C01-99C3-25BB9998A104}" destId="{DF9BA702-BCC7-4B99-8052-4A03B8E5FC2A}" srcOrd="0" destOrd="0" presId="urn:microsoft.com/office/officeart/2005/8/layout/orgChart1"/>
    <dgm:cxn modelId="{9EA1B9C8-C10C-4FCB-A3F8-62F4EA7B096D}" type="presParOf" srcId="{DF9BA702-BCC7-4B99-8052-4A03B8E5FC2A}" destId="{F5AE103C-8D53-4317-A9F2-4D7AEB78142D}" srcOrd="0" destOrd="0" presId="urn:microsoft.com/office/officeart/2005/8/layout/orgChart1"/>
    <dgm:cxn modelId="{57F7C99B-2827-4842-8999-0959362C9563}" type="presParOf" srcId="{DF9BA702-BCC7-4B99-8052-4A03B8E5FC2A}" destId="{AF60FD53-0560-4243-A12D-40EFDF9F2945}" srcOrd="1" destOrd="0" presId="urn:microsoft.com/office/officeart/2005/8/layout/orgChart1"/>
    <dgm:cxn modelId="{F291D1B6-6875-4089-A0B3-8EE0ECED713A}" type="presParOf" srcId="{C8FCFE1F-5216-4C01-99C3-25BB9998A104}" destId="{34D6D6DF-D6D5-4083-9CB1-E5B6927A85C4}" srcOrd="1" destOrd="0" presId="urn:microsoft.com/office/officeart/2005/8/layout/orgChart1"/>
    <dgm:cxn modelId="{34D3BD38-7D7A-4FCB-AC51-3FBD27B1E897}" type="presParOf" srcId="{C8FCFE1F-5216-4C01-99C3-25BB9998A104}" destId="{2D16C8A0-82BD-41DE-9B24-485C5947ADD4}" srcOrd="2" destOrd="0" presId="urn:microsoft.com/office/officeart/2005/8/layout/orgChart1"/>
    <dgm:cxn modelId="{4B0A1DC0-7C79-402E-9F0D-9B2AF4CF7A53}" type="presParOf" srcId="{B831C958-5B65-41F1-8D1E-405885EF69A5}" destId="{F323B80A-26E1-45DE-9FB0-D2590398B930}" srcOrd="2" destOrd="0" presId="urn:microsoft.com/office/officeart/2005/8/layout/orgChart1"/>
    <dgm:cxn modelId="{F5137360-B0D4-4729-BB1B-8848C8DD5C1E}" type="presParOf" srcId="{0973D7E4-469D-4B77-8DC3-E5988A4FECB2}" destId="{4297EB39-A04D-4864-88BF-56EDAE5908BE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024773-583F-4C3B-8151-67C8326EF13B}">
      <dsp:nvSpPr>
        <dsp:cNvPr id="0" name=""/>
        <dsp:cNvSpPr/>
      </dsp:nvSpPr>
      <dsp:spPr>
        <a:xfrm>
          <a:off x="3681984" y="2763519"/>
          <a:ext cx="2007616" cy="130048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t" anchorCtr="0">
          <a:noAutofit/>
        </a:bodyPr>
        <a:lstStyle/>
        <a:p>
          <a:pPr marL="57150" lvl="1" indent="-57150" algn="l" defTabSz="266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6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           </a:t>
          </a:r>
          <a:r>
            <a:rPr lang="es-CL" sz="10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Bomberos</a:t>
          </a:r>
        </a:p>
      </dsp:txBody>
      <dsp:txXfrm>
        <a:off x="4312835" y="3117207"/>
        <a:ext cx="1348197" cy="918226"/>
      </dsp:txXfrm>
    </dsp:sp>
    <dsp:sp modelId="{E0928910-3AB9-4870-850D-5C5DC480E596}">
      <dsp:nvSpPr>
        <dsp:cNvPr id="0" name=""/>
        <dsp:cNvSpPr/>
      </dsp:nvSpPr>
      <dsp:spPr>
        <a:xfrm>
          <a:off x="406400" y="2763519"/>
          <a:ext cx="2007616" cy="130048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SENAPRED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Militares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Ayuda internacional</a:t>
          </a:r>
        </a:p>
      </dsp:txBody>
      <dsp:txXfrm>
        <a:off x="434967" y="3117207"/>
        <a:ext cx="1348197" cy="918226"/>
      </dsp:txXfrm>
    </dsp:sp>
    <dsp:sp modelId="{2984D39E-B933-4493-A9D9-C1DCA5B5BB6B}">
      <dsp:nvSpPr>
        <dsp:cNvPr id="0" name=""/>
        <dsp:cNvSpPr/>
      </dsp:nvSpPr>
      <dsp:spPr>
        <a:xfrm>
          <a:off x="3681984" y="0"/>
          <a:ext cx="2007616" cy="130048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ORMA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Arauco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MPC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ambium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Vista hermosa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omaco</a:t>
          </a:r>
        </a:p>
      </dsp:txBody>
      <dsp:txXfrm>
        <a:off x="4312835" y="28567"/>
        <a:ext cx="1348197" cy="918226"/>
      </dsp:txXfrm>
    </dsp:sp>
    <dsp:sp modelId="{1ED5D410-3066-44DD-BADA-6BB89CF4C386}">
      <dsp:nvSpPr>
        <dsp:cNvPr id="0" name=""/>
        <dsp:cNvSpPr/>
      </dsp:nvSpPr>
      <dsp:spPr>
        <a:xfrm>
          <a:off x="406400" y="0"/>
          <a:ext cx="2007616" cy="130048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L" sz="10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CONAF</a:t>
          </a:r>
        </a:p>
      </dsp:txBody>
      <dsp:txXfrm>
        <a:off x="434967" y="28567"/>
        <a:ext cx="1348197" cy="918226"/>
      </dsp:txXfrm>
    </dsp:sp>
    <dsp:sp modelId="{7A9C15B2-44C4-4A22-BA4C-CB8DE2AB7F16}">
      <dsp:nvSpPr>
        <dsp:cNvPr id="0" name=""/>
        <dsp:cNvSpPr/>
      </dsp:nvSpPr>
      <dsp:spPr>
        <a:xfrm>
          <a:off x="1247648" y="231647"/>
          <a:ext cx="1759712" cy="1759712"/>
        </a:xfrm>
        <a:prstGeom prst="pieWedg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Público</a:t>
          </a:r>
        </a:p>
      </dsp:txBody>
      <dsp:txXfrm>
        <a:off x="1763056" y="747055"/>
        <a:ext cx="1244304" cy="1244304"/>
      </dsp:txXfrm>
    </dsp:sp>
    <dsp:sp modelId="{84E7E13E-C75A-4686-AB8E-7EF19089BF43}">
      <dsp:nvSpPr>
        <dsp:cNvPr id="0" name=""/>
        <dsp:cNvSpPr/>
      </dsp:nvSpPr>
      <dsp:spPr>
        <a:xfrm rot="5400000">
          <a:off x="3088640" y="231647"/>
          <a:ext cx="1759712" cy="1759712"/>
        </a:xfrm>
        <a:prstGeom prst="pieWedg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Privado</a:t>
          </a:r>
        </a:p>
      </dsp:txBody>
      <dsp:txXfrm rot="-5400000">
        <a:off x="3088640" y="747055"/>
        <a:ext cx="1244304" cy="1244304"/>
      </dsp:txXfrm>
    </dsp:sp>
    <dsp:sp modelId="{C88DDC1A-CFCB-40EF-B36A-78BD035B60EF}">
      <dsp:nvSpPr>
        <dsp:cNvPr id="0" name=""/>
        <dsp:cNvSpPr/>
      </dsp:nvSpPr>
      <dsp:spPr>
        <a:xfrm rot="10800000">
          <a:off x="3088640" y="2072640"/>
          <a:ext cx="1759712" cy="1759712"/>
        </a:xfrm>
        <a:prstGeom prst="pieWedg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Viviendas</a:t>
          </a:r>
        </a:p>
      </dsp:txBody>
      <dsp:txXfrm rot="10800000">
        <a:off x="3088640" y="2072640"/>
        <a:ext cx="1244304" cy="1244304"/>
      </dsp:txXfrm>
    </dsp:sp>
    <dsp:sp modelId="{BCE3183B-E8AF-4021-9B75-ED96D60278E7}">
      <dsp:nvSpPr>
        <dsp:cNvPr id="0" name=""/>
        <dsp:cNvSpPr/>
      </dsp:nvSpPr>
      <dsp:spPr>
        <a:xfrm rot="16200000">
          <a:off x="1247648" y="2072640"/>
          <a:ext cx="1759712" cy="1759712"/>
        </a:xfrm>
        <a:prstGeom prst="pieWedg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800" kern="12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rPr>
            <a:t>Grandes Incendios</a:t>
          </a:r>
        </a:p>
      </dsp:txBody>
      <dsp:txXfrm rot="5400000">
        <a:off x="1763056" y="2072640"/>
        <a:ext cx="1244304" cy="1244304"/>
      </dsp:txXfrm>
    </dsp:sp>
    <dsp:sp modelId="{3C4EB1CA-CF3F-4C4D-A660-66BE45765A36}">
      <dsp:nvSpPr>
        <dsp:cNvPr id="0" name=""/>
        <dsp:cNvSpPr/>
      </dsp:nvSpPr>
      <dsp:spPr>
        <a:xfrm>
          <a:off x="2744216" y="1666240"/>
          <a:ext cx="607568" cy="528320"/>
        </a:xfrm>
        <a:prstGeom prst="circularArrow">
          <a:avLst/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EBAB3B5E-9CC9-40AA-A040-2CBC3314638A}">
      <dsp:nvSpPr>
        <dsp:cNvPr id="0" name=""/>
        <dsp:cNvSpPr/>
      </dsp:nvSpPr>
      <dsp:spPr>
        <a:xfrm rot="10800000">
          <a:off x="2744216" y="1869440"/>
          <a:ext cx="607568" cy="528320"/>
        </a:xfrm>
        <a:prstGeom prst="circularArrow">
          <a:avLst/>
        </a:prstGeom>
        <a:gradFill rotWithShape="0">
          <a:gsLst>
            <a:gs pos="0">
              <a:schemeClr val="accent3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75C413-9D93-47BC-9740-F5D80E38FCD7}">
      <dsp:nvSpPr>
        <dsp:cNvPr id="0" name=""/>
        <dsp:cNvSpPr/>
      </dsp:nvSpPr>
      <dsp:spPr>
        <a:xfrm>
          <a:off x="7285113" y="2100992"/>
          <a:ext cx="221192" cy="17252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5298"/>
              </a:lnTo>
              <a:lnTo>
                <a:pt x="221192" y="172529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553A1D-967C-43B4-BA8A-2D692941E317}">
      <dsp:nvSpPr>
        <dsp:cNvPr id="0" name=""/>
        <dsp:cNvSpPr/>
      </dsp:nvSpPr>
      <dsp:spPr>
        <a:xfrm>
          <a:off x="7285113" y="2100992"/>
          <a:ext cx="221192" cy="6783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8322"/>
              </a:lnTo>
              <a:lnTo>
                <a:pt x="221192" y="67832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553A0BC-284B-4EF8-9D58-EF52CDB8C905}">
      <dsp:nvSpPr>
        <dsp:cNvPr id="0" name=""/>
        <dsp:cNvSpPr/>
      </dsp:nvSpPr>
      <dsp:spPr>
        <a:xfrm>
          <a:off x="4306393" y="1054016"/>
          <a:ext cx="3568565" cy="3096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4834"/>
              </a:lnTo>
              <a:lnTo>
                <a:pt x="3568565" y="154834"/>
              </a:lnTo>
              <a:lnTo>
                <a:pt x="3568565" y="30966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2F4899-082A-43DC-84F0-DFD329DF422C}">
      <dsp:nvSpPr>
        <dsp:cNvPr id="0" name=""/>
        <dsp:cNvSpPr/>
      </dsp:nvSpPr>
      <dsp:spPr>
        <a:xfrm>
          <a:off x="5500830" y="2100992"/>
          <a:ext cx="221192" cy="17252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5298"/>
              </a:lnTo>
              <a:lnTo>
                <a:pt x="221192" y="172529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DC07A4-93F4-4CCE-A031-A69CEA301CE3}">
      <dsp:nvSpPr>
        <dsp:cNvPr id="0" name=""/>
        <dsp:cNvSpPr/>
      </dsp:nvSpPr>
      <dsp:spPr>
        <a:xfrm>
          <a:off x="5500830" y="2100992"/>
          <a:ext cx="221192" cy="6783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8322"/>
              </a:lnTo>
              <a:lnTo>
                <a:pt x="221192" y="67832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32A0AD-CFDA-4564-9E8C-FF173C2B8CDA}">
      <dsp:nvSpPr>
        <dsp:cNvPr id="0" name=""/>
        <dsp:cNvSpPr/>
      </dsp:nvSpPr>
      <dsp:spPr>
        <a:xfrm>
          <a:off x="4306393" y="1054016"/>
          <a:ext cx="1784282" cy="3096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4834"/>
              </a:lnTo>
              <a:lnTo>
                <a:pt x="1784282" y="154834"/>
              </a:lnTo>
              <a:lnTo>
                <a:pt x="1784282" y="30966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5E2A1CD-3EE7-448A-9089-2A6141C0F0B5}">
      <dsp:nvSpPr>
        <dsp:cNvPr id="0" name=""/>
        <dsp:cNvSpPr/>
      </dsp:nvSpPr>
      <dsp:spPr>
        <a:xfrm>
          <a:off x="3716547" y="2100992"/>
          <a:ext cx="221192" cy="17252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5298"/>
              </a:lnTo>
              <a:lnTo>
                <a:pt x="221192" y="172529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D56106-7A09-49B6-899E-D2E84C1476C8}">
      <dsp:nvSpPr>
        <dsp:cNvPr id="0" name=""/>
        <dsp:cNvSpPr/>
      </dsp:nvSpPr>
      <dsp:spPr>
        <a:xfrm>
          <a:off x="3716547" y="2100992"/>
          <a:ext cx="221192" cy="6783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8322"/>
              </a:lnTo>
              <a:lnTo>
                <a:pt x="221192" y="67832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346B89-EB4F-4C4B-BA64-1504E8A32CC6}">
      <dsp:nvSpPr>
        <dsp:cNvPr id="0" name=""/>
        <dsp:cNvSpPr/>
      </dsp:nvSpPr>
      <dsp:spPr>
        <a:xfrm>
          <a:off x="4260673" y="1054016"/>
          <a:ext cx="91440" cy="3096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0966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2CDFC6-8267-47CD-AA74-C5A5AFAFEC5A}">
      <dsp:nvSpPr>
        <dsp:cNvPr id="0" name=""/>
        <dsp:cNvSpPr/>
      </dsp:nvSpPr>
      <dsp:spPr>
        <a:xfrm>
          <a:off x="1932264" y="2100992"/>
          <a:ext cx="221192" cy="17252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5298"/>
              </a:lnTo>
              <a:lnTo>
                <a:pt x="221192" y="172529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F9B66E-385D-46AE-8F44-A8DE5EAF269C}">
      <dsp:nvSpPr>
        <dsp:cNvPr id="0" name=""/>
        <dsp:cNvSpPr/>
      </dsp:nvSpPr>
      <dsp:spPr>
        <a:xfrm>
          <a:off x="1932264" y="2100992"/>
          <a:ext cx="221192" cy="6783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8322"/>
              </a:lnTo>
              <a:lnTo>
                <a:pt x="221192" y="67832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A03FAF-9656-41F1-90B6-AA6AB4E03A25}">
      <dsp:nvSpPr>
        <dsp:cNvPr id="0" name=""/>
        <dsp:cNvSpPr/>
      </dsp:nvSpPr>
      <dsp:spPr>
        <a:xfrm>
          <a:off x="2522110" y="1054016"/>
          <a:ext cx="1784282" cy="309668"/>
        </a:xfrm>
        <a:custGeom>
          <a:avLst/>
          <a:gdLst/>
          <a:ahLst/>
          <a:cxnLst/>
          <a:rect l="0" t="0" r="0" b="0"/>
          <a:pathLst>
            <a:path>
              <a:moveTo>
                <a:pt x="1784282" y="0"/>
              </a:moveTo>
              <a:lnTo>
                <a:pt x="1784282" y="154834"/>
              </a:lnTo>
              <a:lnTo>
                <a:pt x="0" y="154834"/>
              </a:lnTo>
              <a:lnTo>
                <a:pt x="0" y="30966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C71240-BFFE-445A-A1ED-4309266B267E}">
      <dsp:nvSpPr>
        <dsp:cNvPr id="0" name=""/>
        <dsp:cNvSpPr/>
      </dsp:nvSpPr>
      <dsp:spPr>
        <a:xfrm>
          <a:off x="147982" y="2100992"/>
          <a:ext cx="221192" cy="17252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25298"/>
              </a:lnTo>
              <a:lnTo>
                <a:pt x="221192" y="1725298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B0D492-0C60-46D3-A144-C82C5A61CFF0}">
      <dsp:nvSpPr>
        <dsp:cNvPr id="0" name=""/>
        <dsp:cNvSpPr/>
      </dsp:nvSpPr>
      <dsp:spPr>
        <a:xfrm>
          <a:off x="147982" y="2100992"/>
          <a:ext cx="221192" cy="6783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8322"/>
              </a:lnTo>
              <a:lnTo>
                <a:pt x="221192" y="678322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2EC6B3-E76B-4B47-AE97-F47056A50480}">
      <dsp:nvSpPr>
        <dsp:cNvPr id="0" name=""/>
        <dsp:cNvSpPr/>
      </dsp:nvSpPr>
      <dsp:spPr>
        <a:xfrm>
          <a:off x="737827" y="1054016"/>
          <a:ext cx="3568565" cy="309668"/>
        </a:xfrm>
        <a:custGeom>
          <a:avLst/>
          <a:gdLst/>
          <a:ahLst/>
          <a:cxnLst/>
          <a:rect l="0" t="0" r="0" b="0"/>
          <a:pathLst>
            <a:path>
              <a:moveTo>
                <a:pt x="3568565" y="0"/>
              </a:moveTo>
              <a:lnTo>
                <a:pt x="3568565" y="154834"/>
              </a:lnTo>
              <a:lnTo>
                <a:pt x="0" y="154834"/>
              </a:lnTo>
              <a:lnTo>
                <a:pt x="0" y="309668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55D650-9B55-4BA1-AAA1-A1C2C453D763}">
      <dsp:nvSpPr>
        <dsp:cNvPr id="0" name=""/>
        <dsp:cNvSpPr/>
      </dsp:nvSpPr>
      <dsp:spPr>
        <a:xfrm>
          <a:off x="3569086" y="316709"/>
          <a:ext cx="1474613" cy="737306"/>
        </a:xfrm>
        <a:prstGeom prst="rect">
          <a:avLst/>
        </a:prstGeom>
        <a:solidFill>
          <a:srgbClr val="FB821E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Protección</a:t>
          </a:r>
        </a:p>
      </dsp:txBody>
      <dsp:txXfrm>
        <a:off x="3569086" y="316709"/>
        <a:ext cx="1474613" cy="737306"/>
      </dsp:txXfrm>
    </dsp:sp>
    <dsp:sp modelId="{C6266DDB-3FAA-4ECB-A052-D43B180C189F}">
      <dsp:nvSpPr>
        <dsp:cNvPr id="0" name=""/>
        <dsp:cNvSpPr/>
      </dsp:nvSpPr>
      <dsp:spPr>
        <a:xfrm>
          <a:off x="520" y="1363685"/>
          <a:ext cx="1474613" cy="737306"/>
        </a:xfrm>
        <a:prstGeom prst="rect">
          <a:avLst/>
        </a:prstGeom>
        <a:solidFill>
          <a:srgbClr val="BFB800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Prevención</a:t>
          </a:r>
        </a:p>
      </dsp:txBody>
      <dsp:txXfrm>
        <a:off x="520" y="1363685"/>
        <a:ext cx="1474613" cy="737306"/>
      </dsp:txXfrm>
    </dsp:sp>
    <dsp:sp modelId="{5207BFD0-2A1D-4E92-959B-3809AD0F3B5B}">
      <dsp:nvSpPr>
        <dsp:cNvPr id="0" name=""/>
        <dsp:cNvSpPr/>
      </dsp:nvSpPr>
      <dsp:spPr>
        <a:xfrm>
          <a:off x="369174" y="2410660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Manejo Silvícola</a:t>
          </a:r>
        </a:p>
      </dsp:txBody>
      <dsp:txXfrm>
        <a:off x="369174" y="2410660"/>
        <a:ext cx="1474613" cy="737306"/>
      </dsp:txXfrm>
    </dsp:sp>
    <dsp:sp modelId="{BB1DF441-5B8B-439D-8C5D-776D83DECC07}">
      <dsp:nvSpPr>
        <dsp:cNvPr id="0" name=""/>
        <dsp:cNvSpPr/>
      </dsp:nvSpPr>
      <dsp:spPr>
        <a:xfrm>
          <a:off x="369174" y="3457636"/>
          <a:ext cx="1474613" cy="737306"/>
        </a:xfrm>
        <a:prstGeom prst="rect">
          <a:avLst/>
        </a:prstGeom>
        <a:solidFill>
          <a:srgbClr val="A6A6A6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Comunidades</a:t>
          </a:r>
        </a:p>
      </dsp:txBody>
      <dsp:txXfrm>
        <a:off x="369174" y="3457636"/>
        <a:ext cx="1474613" cy="737306"/>
      </dsp:txXfrm>
    </dsp:sp>
    <dsp:sp modelId="{E502DDEE-2669-4730-BAFC-B1AFDE4BA2CA}">
      <dsp:nvSpPr>
        <dsp:cNvPr id="0" name=""/>
        <dsp:cNvSpPr/>
      </dsp:nvSpPr>
      <dsp:spPr>
        <a:xfrm>
          <a:off x="1784803" y="1363685"/>
          <a:ext cx="1474613" cy="737306"/>
        </a:xfrm>
        <a:prstGeom prst="rect">
          <a:avLst/>
        </a:prstGeom>
        <a:solidFill>
          <a:srgbClr val="BFB800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Formación</a:t>
          </a:r>
        </a:p>
      </dsp:txBody>
      <dsp:txXfrm>
        <a:off x="1784803" y="1363685"/>
        <a:ext cx="1474613" cy="737306"/>
      </dsp:txXfrm>
    </dsp:sp>
    <dsp:sp modelId="{536D7D0F-42D2-4CC2-88CF-7EE0A9140D85}">
      <dsp:nvSpPr>
        <dsp:cNvPr id="0" name=""/>
        <dsp:cNvSpPr/>
      </dsp:nvSpPr>
      <dsp:spPr>
        <a:xfrm>
          <a:off x="2153457" y="2410660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Entrenamiento</a:t>
          </a:r>
        </a:p>
      </dsp:txBody>
      <dsp:txXfrm>
        <a:off x="2153457" y="2410660"/>
        <a:ext cx="1474613" cy="737306"/>
      </dsp:txXfrm>
    </dsp:sp>
    <dsp:sp modelId="{BA67BF8A-06CB-40A5-9357-4D5A80ACEC00}">
      <dsp:nvSpPr>
        <dsp:cNvPr id="0" name=""/>
        <dsp:cNvSpPr/>
      </dsp:nvSpPr>
      <dsp:spPr>
        <a:xfrm>
          <a:off x="2153457" y="3457636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Procedimientos</a:t>
          </a:r>
        </a:p>
      </dsp:txBody>
      <dsp:txXfrm>
        <a:off x="2153457" y="3457636"/>
        <a:ext cx="1474613" cy="737306"/>
      </dsp:txXfrm>
    </dsp:sp>
    <dsp:sp modelId="{340FCC41-118E-4857-9F2D-0BF18256A1D1}">
      <dsp:nvSpPr>
        <dsp:cNvPr id="0" name=""/>
        <dsp:cNvSpPr/>
      </dsp:nvSpPr>
      <dsp:spPr>
        <a:xfrm>
          <a:off x="3569086" y="1363685"/>
          <a:ext cx="1474613" cy="737306"/>
        </a:xfrm>
        <a:prstGeom prst="rect">
          <a:avLst/>
        </a:prstGeom>
        <a:solidFill>
          <a:srgbClr val="BFB800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Detección</a:t>
          </a:r>
        </a:p>
      </dsp:txBody>
      <dsp:txXfrm>
        <a:off x="3569086" y="1363685"/>
        <a:ext cx="1474613" cy="737306"/>
      </dsp:txXfrm>
    </dsp:sp>
    <dsp:sp modelId="{E900DD85-5800-4D36-8038-2BE7C2B06C38}">
      <dsp:nvSpPr>
        <dsp:cNvPr id="0" name=""/>
        <dsp:cNvSpPr/>
      </dsp:nvSpPr>
      <dsp:spPr>
        <a:xfrm>
          <a:off x="3937739" y="2410660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Cámaras</a:t>
          </a:r>
        </a:p>
      </dsp:txBody>
      <dsp:txXfrm>
        <a:off x="3937739" y="2410660"/>
        <a:ext cx="1474613" cy="737306"/>
      </dsp:txXfrm>
    </dsp:sp>
    <dsp:sp modelId="{7D40EF6E-EB20-464E-A9E3-3FCF8BBD6E71}">
      <dsp:nvSpPr>
        <dsp:cNvPr id="0" name=""/>
        <dsp:cNvSpPr/>
      </dsp:nvSpPr>
      <dsp:spPr>
        <a:xfrm>
          <a:off x="3937739" y="3457636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Satélite</a:t>
          </a:r>
        </a:p>
      </dsp:txBody>
      <dsp:txXfrm>
        <a:off x="3937739" y="3457636"/>
        <a:ext cx="1474613" cy="737306"/>
      </dsp:txXfrm>
    </dsp:sp>
    <dsp:sp modelId="{D618B7C0-6F5C-468D-A4C1-1518BA85465F}">
      <dsp:nvSpPr>
        <dsp:cNvPr id="0" name=""/>
        <dsp:cNvSpPr/>
      </dsp:nvSpPr>
      <dsp:spPr>
        <a:xfrm>
          <a:off x="5353369" y="1363685"/>
          <a:ext cx="1474613" cy="737306"/>
        </a:xfrm>
        <a:prstGeom prst="rect">
          <a:avLst/>
        </a:prstGeom>
        <a:solidFill>
          <a:srgbClr val="BFB800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Central</a:t>
          </a:r>
        </a:p>
      </dsp:txBody>
      <dsp:txXfrm>
        <a:off x="5353369" y="1363685"/>
        <a:ext cx="1474613" cy="737306"/>
      </dsp:txXfrm>
    </dsp:sp>
    <dsp:sp modelId="{16D252CE-933C-48D5-8F1D-41138ED1F066}">
      <dsp:nvSpPr>
        <dsp:cNvPr id="0" name=""/>
        <dsp:cNvSpPr/>
      </dsp:nvSpPr>
      <dsp:spPr>
        <a:xfrm>
          <a:off x="5722022" y="2410660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Despacho</a:t>
          </a:r>
        </a:p>
      </dsp:txBody>
      <dsp:txXfrm>
        <a:off x="5722022" y="2410660"/>
        <a:ext cx="1474613" cy="737306"/>
      </dsp:txXfrm>
    </dsp:sp>
    <dsp:sp modelId="{92CA905F-3A94-4F49-8253-50DB46DE2B0A}">
      <dsp:nvSpPr>
        <dsp:cNvPr id="0" name=""/>
        <dsp:cNvSpPr/>
      </dsp:nvSpPr>
      <dsp:spPr>
        <a:xfrm>
          <a:off x="5722022" y="3457636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Simulación</a:t>
          </a:r>
        </a:p>
      </dsp:txBody>
      <dsp:txXfrm>
        <a:off x="5722022" y="3457636"/>
        <a:ext cx="1474613" cy="737306"/>
      </dsp:txXfrm>
    </dsp:sp>
    <dsp:sp modelId="{46A871CE-9F7E-460D-86F3-B1506085BF8B}">
      <dsp:nvSpPr>
        <dsp:cNvPr id="0" name=""/>
        <dsp:cNvSpPr/>
      </dsp:nvSpPr>
      <dsp:spPr>
        <a:xfrm>
          <a:off x="7137651" y="1363685"/>
          <a:ext cx="1474613" cy="737306"/>
        </a:xfrm>
        <a:prstGeom prst="rect">
          <a:avLst/>
        </a:prstGeom>
        <a:solidFill>
          <a:srgbClr val="BFB800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Combate</a:t>
          </a:r>
        </a:p>
      </dsp:txBody>
      <dsp:txXfrm>
        <a:off x="7137651" y="1363685"/>
        <a:ext cx="1474613" cy="737306"/>
      </dsp:txXfrm>
    </dsp:sp>
    <dsp:sp modelId="{B095BA7F-7BBA-4FAF-B92C-3DC6E152C267}">
      <dsp:nvSpPr>
        <dsp:cNvPr id="0" name=""/>
        <dsp:cNvSpPr/>
      </dsp:nvSpPr>
      <dsp:spPr>
        <a:xfrm>
          <a:off x="7506305" y="2410660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Aéreo</a:t>
          </a:r>
        </a:p>
      </dsp:txBody>
      <dsp:txXfrm>
        <a:off x="7506305" y="2410660"/>
        <a:ext cx="1474613" cy="737306"/>
      </dsp:txXfrm>
    </dsp:sp>
    <dsp:sp modelId="{F5AE103C-8D53-4317-A9F2-4D7AEB78142D}">
      <dsp:nvSpPr>
        <dsp:cNvPr id="0" name=""/>
        <dsp:cNvSpPr/>
      </dsp:nvSpPr>
      <dsp:spPr>
        <a:xfrm>
          <a:off x="7506305" y="3457636"/>
          <a:ext cx="1474613" cy="737306"/>
        </a:xfrm>
        <a:prstGeom prst="rect">
          <a:avLst/>
        </a:prstGeom>
        <a:solidFill>
          <a:srgbClr val="A6A6A6"/>
        </a:solidFill>
        <a:ln>
          <a:solidFill>
            <a:srgbClr val="696158"/>
          </a:solidFill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L" sz="1600" kern="1200" dirty="0">
              <a:solidFill>
                <a:schemeClr val="bg1"/>
              </a:solidFill>
              <a:latin typeface="Lato" panose="020F0502020204030203" pitchFamily="34" charset="0"/>
            </a:rPr>
            <a:t>Terrestre</a:t>
          </a:r>
        </a:p>
      </dsp:txBody>
      <dsp:txXfrm>
        <a:off x="7506305" y="3457636"/>
        <a:ext cx="1474613" cy="7373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ECBAB26F-AA08-2445-BD52-A20630D77ED4}" type="datetimeFigureOut">
              <a:rPr lang="es-ES" smtClean="0"/>
              <a:t>06/10/2024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38F3CF0-2478-5B4A-B9FF-82866978995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50061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97CC2D-EAA9-45FB-A6A4-24ECD9B8B53A}" type="slidenum">
              <a:rPr lang="es-CL" smtClean="0"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89711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8F3CF0-2478-5B4A-B9FF-828669789954}" type="slidenum">
              <a:rPr lang="es-ES" smtClean="0"/>
              <a:t>1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29205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703"/>
            <a:ext cx="9162000" cy="5162403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12801" y="3152775"/>
            <a:ext cx="4732867" cy="134302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600"/>
              </a:lnSpc>
              <a:buNone/>
              <a:defRPr sz="4000" b="0" i="0" baseline="0">
                <a:solidFill>
                  <a:schemeClr val="bg1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ítulo de la presentación</a:t>
            </a:r>
            <a:endParaRPr lang="es-ES" dirty="0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812801" y="4524375"/>
            <a:ext cx="4732867" cy="371475"/>
          </a:xfrm>
          <a:prstGeom prst="rect">
            <a:avLst/>
          </a:prstGeom>
          <a:noFill/>
        </p:spPr>
        <p:txBody>
          <a:bodyPr lIns="0" tIns="0">
            <a:normAutofit/>
          </a:bodyPr>
          <a:lstStyle>
            <a:lvl1pPr marL="0" indent="0">
              <a:buNone/>
              <a:defRPr sz="2000" b="0" i="0">
                <a:solidFill>
                  <a:srgbClr val="BFB800"/>
                </a:solidFill>
                <a:latin typeface="Lato Light"/>
                <a:cs typeface="Lato Light"/>
              </a:defRPr>
            </a:lvl1pPr>
          </a:lstStyle>
          <a:p>
            <a:pPr lvl="0"/>
            <a:r>
              <a:rPr lang="es-ES_tradnl" dirty="0"/>
              <a:t>FECH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78062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9968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100" b="1">
                <a:solidFill>
                  <a:srgbClr val="696158"/>
                </a:solidFill>
                <a:latin typeface="Lato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1098675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" y="-5703"/>
            <a:ext cx="9159694" cy="5162402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12801" y="3152775"/>
            <a:ext cx="4732867" cy="134302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600"/>
              </a:lnSpc>
              <a:buNone/>
              <a:defRPr sz="4000" b="0" i="0" baseline="0">
                <a:solidFill>
                  <a:srgbClr val="696158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ítulo de la presentación</a:t>
            </a:r>
            <a:endParaRPr lang="es-ES" dirty="0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812801" y="4524375"/>
            <a:ext cx="4732867" cy="371475"/>
          </a:xfrm>
          <a:prstGeom prst="rect">
            <a:avLst/>
          </a:prstGeom>
          <a:noFill/>
        </p:spPr>
        <p:txBody>
          <a:bodyPr lIns="0" tIns="0">
            <a:normAutofit/>
          </a:bodyPr>
          <a:lstStyle>
            <a:lvl1pPr marL="0" indent="0">
              <a:buNone/>
              <a:defRPr sz="2000" b="0" i="0">
                <a:solidFill>
                  <a:srgbClr val="BFB800"/>
                </a:solidFill>
                <a:latin typeface="Lato Light"/>
                <a:cs typeface="Lato Light"/>
              </a:defRPr>
            </a:lvl1pPr>
          </a:lstStyle>
          <a:p>
            <a:pPr lvl="0"/>
            <a:r>
              <a:rPr lang="es-ES_tradnl" dirty="0"/>
              <a:t>FECH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3601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854"/>
            <a:ext cx="9161998" cy="5164705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12801" y="3152775"/>
            <a:ext cx="4732867" cy="134302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600"/>
              </a:lnSpc>
              <a:buNone/>
              <a:defRPr sz="4000" b="0" i="0" baseline="0">
                <a:solidFill>
                  <a:schemeClr val="bg1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ítulo Portadill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780882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6854"/>
            <a:ext cx="9161998" cy="5164705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12801" y="3152775"/>
            <a:ext cx="4732867" cy="134302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600"/>
              </a:lnSpc>
              <a:buNone/>
              <a:defRPr sz="4000" b="0" i="0" baseline="0">
                <a:solidFill>
                  <a:schemeClr val="bg1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ítulo Portadill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99382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6853"/>
            <a:ext cx="9161997" cy="5164704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12801" y="3152775"/>
            <a:ext cx="4732867" cy="134302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600"/>
              </a:lnSpc>
              <a:buNone/>
              <a:defRPr sz="4000" b="0" i="0" baseline="0">
                <a:solidFill>
                  <a:srgbClr val="696158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ítulo Portadilla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7639622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posición de imagen 8"/>
          <p:cNvSpPr>
            <a:spLocks noGrp="1"/>
          </p:cNvSpPr>
          <p:nvPr>
            <p:ph type="pic" sz="quarter" idx="11"/>
          </p:nvPr>
        </p:nvSpPr>
        <p:spPr>
          <a:xfrm>
            <a:off x="6255461" y="-6351"/>
            <a:ext cx="2899809" cy="5163567"/>
          </a:xfrm>
          <a:prstGeom prst="rect">
            <a:avLst/>
          </a:prstGeom>
        </p:spPr>
        <p:txBody>
          <a:bodyPr vert="horz"/>
          <a:lstStyle/>
          <a:p>
            <a:endParaRPr lang="es-ES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78" y="-10583"/>
            <a:ext cx="6294440" cy="5167800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12801" y="1933575"/>
            <a:ext cx="4732867" cy="134302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400"/>
              </a:lnSpc>
              <a:buNone/>
              <a:defRPr sz="3200" b="0" i="0" baseline="0">
                <a:solidFill>
                  <a:schemeClr val="bg1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exto destacado</a:t>
            </a:r>
            <a:endParaRPr lang="es-ES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12800" y="3562350"/>
            <a:ext cx="4732338" cy="904875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800" b="0" i="0">
                <a:solidFill>
                  <a:srgbClr val="FFFFFF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 b="0" i="0">
                <a:latin typeface="Lato Light"/>
                <a:cs typeface="Lato Light"/>
              </a:defRPr>
            </a:lvl2pPr>
            <a:lvl3pPr marL="914400" indent="0">
              <a:buNone/>
              <a:defRPr sz="1800" b="0" i="0">
                <a:latin typeface="Lato Light"/>
                <a:cs typeface="Lato Light"/>
              </a:defRPr>
            </a:lvl3pPr>
            <a:lvl4pPr marL="1371600" indent="0">
              <a:buNone/>
              <a:defRPr sz="1800" b="0" i="0">
                <a:latin typeface="Lato Light"/>
                <a:cs typeface="Lato Light"/>
              </a:defRPr>
            </a:lvl4pPr>
            <a:lvl5pPr marL="1828800" indent="0">
              <a:buNone/>
              <a:defRPr sz="1800" b="0" i="0">
                <a:latin typeface="Lato Light"/>
                <a:cs typeface="Lato Light"/>
              </a:defRPr>
            </a:lvl5pPr>
          </a:lstStyle>
          <a:p>
            <a:pPr lvl="0"/>
            <a:r>
              <a:rPr lang="es-ES_tradnl" dirty="0"/>
              <a:t>Texto  explicativ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7895347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posición de imagen 8"/>
          <p:cNvSpPr>
            <a:spLocks noGrp="1"/>
          </p:cNvSpPr>
          <p:nvPr>
            <p:ph type="pic" sz="quarter" idx="11"/>
          </p:nvPr>
        </p:nvSpPr>
        <p:spPr>
          <a:xfrm>
            <a:off x="6255461" y="-6351"/>
            <a:ext cx="2899809" cy="5163567"/>
          </a:xfrm>
          <a:prstGeom prst="rect">
            <a:avLst/>
          </a:prstGeom>
        </p:spPr>
        <p:txBody>
          <a:bodyPr vert="horz"/>
          <a:lstStyle/>
          <a:p>
            <a:endParaRPr lang="es-ES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78" y="-10583"/>
            <a:ext cx="6294440" cy="5167799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12801" y="1933575"/>
            <a:ext cx="4732867" cy="134302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400"/>
              </a:lnSpc>
              <a:buNone/>
              <a:defRPr sz="3200" b="0" i="0" baseline="0">
                <a:solidFill>
                  <a:schemeClr val="bg1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exto destacado</a:t>
            </a:r>
            <a:endParaRPr lang="es-ES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12800" y="3562350"/>
            <a:ext cx="4732338" cy="904875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800" b="0" i="0">
                <a:solidFill>
                  <a:srgbClr val="FFFFFF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 b="0" i="0">
                <a:latin typeface="Lato Light"/>
                <a:cs typeface="Lato Light"/>
              </a:defRPr>
            </a:lvl2pPr>
            <a:lvl3pPr marL="914400" indent="0">
              <a:buNone/>
              <a:defRPr sz="1800" b="0" i="0">
                <a:latin typeface="Lato Light"/>
                <a:cs typeface="Lato Light"/>
              </a:defRPr>
            </a:lvl3pPr>
            <a:lvl4pPr marL="1371600" indent="0">
              <a:buNone/>
              <a:defRPr sz="1800" b="0" i="0">
                <a:latin typeface="Lato Light"/>
                <a:cs typeface="Lato Light"/>
              </a:defRPr>
            </a:lvl4pPr>
            <a:lvl5pPr marL="1828800" indent="0">
              <a:buNone/>
              <a:defRPr sz="1800" b="0" i="0">
                <a:latin typeface="Lato Light"/>
                <a:cs typeface="Lato Light"/>
              </a:defRPr>
            </a:lvl5pPr>
          </a:lstStyle>
          <a:p>
            <a:pPr lvl="0"/>
            <a:r>
              <a:rPr lang="es-ES_tradnl" dirty="0"/>
              <a:t>Texto  explicativ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283674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posición de imagen 8"/>
          <p:cNvSpPr>
            <a:spLocks noGrp="1"/>
          </p:cNvSpPr>
          <p:nvPr>
            <p:ph type="pic" sz="quarter" idx="11"/>
          </p:nvPr>
        </p:nvSpPr>
        <p:spPr>
          <a:xfrm>
            <a:off x="6255461" y="-6351"/>
            <a:ext cx="2899809" cy="5163567"/>
          </a:xfrm>
          <a:prstGeom prst="rect">
            <a:avLst/>
          </a:prstGeom>
        </p:spPr>
        <p:txBody>
          <a:bodyPr vert="horz"/>
          <a:lstStyle/>
          <a:p>
            <a:endParaRPr lang="es-ES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978" y="-10583"/>
            <a:ext cx="6294439" cy="5167799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12801" y="1933575"/>
            <a:ext cx="4732867" cy="1343025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400"/>
              </a:lnSpc>
              <a:buNone/>
              <a:defRPr sz="3200" b="0" i="0" baseline="0">
                <a:solidFill>
                  <a:schemeClr val="bg1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exto destacado</a:t>
            </a:r>
            <a:endParaRPr lang="es-ES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812800" y="3562350"/>
            <a:ext cx="4732338" cy="904875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800" b="0" i="0">
                <a:solidFill>
                  <a:srgbClr val="FFFFFF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 b="0" i="0">
                <a:latin typeface="Lato Light"/>
                <a:cs typeface="Lato Light"/>
              </a:defRPr>
            </a:lvl2pPr>
            <a:lvl3pPr marL="914400" indent="0">
              <a:buNone/>
              <a:defRPr sz="1800" b="0" i="0">
                <a:latin typeface="Lato Light"/>
                <a:cs typeface="Lato Light"/>
              </a:defRPr>
            </a:lvl3pPr>
            <a:lvl4pPr marL="1371600" indent="0">
              <a:buNone/>
              <a:defRPr sz="1800" b="0" i="0">
                <a:latin typeface="Lato Light"/>
                <a:cs typeface="Lato Light"/>
              </a:defRPr>
            </a:lvl4pPr>
            <a:lvl5pPr marL="1828800" indent="0">
              <a:buNone/>
              <a:defRPr sz="1800" b="0" i="0">
                <a:latin typeface="Lato Light"/>
                <a:cs typeface="Lato Light"/>
              </a:defRPr>
            </a:lvl5pPr>
          </a:lstStyle>
          <a:p>
            <a:pPr lvl="0"/>
            <a:r>
              <a:rPr lang="es-ES_tradnl" dirty="0"/>
              <a:t>Texto  explicativ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65564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2815" y="0"/>
            <a:ext cx="6165861" cy="5167799"/>
          </a:xfrm>
          <a:prstGeom prst="rect">
            <a:avLst/>
          </a:prstGeom>
        </p:spPr>
      </p:pic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059833" y="2422401"/>
            <a:ext cx="4732867" cy="520824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algn="l">
              <a:lnSpc>
                <a:spcPts val="3400"/>
              </a:lnSpc>
              <a:buNone/>
              <a:defRPr sz="3200" b="0" i="0" baseline="0">
                <a:solidFill>
                  <a:srgbClr val="696158"/>
                </a:solidFill>
                <a:latin typeface="Lato Light"/>
                <a:cs typeface="Lato 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Título texto</a:t>
            </a:r>
            <a:endParaRPr lang="es-ES" dirty="0"/>
          </a:p>
        </p:txBody>
      </p:sp>
      <p:sp>
        <p:nvSpPr>
          <p:cNvPr id="7" name="Marcador de texto 6"/>
          <p:cNvSpPr>
            <a:spLocks noGrp="1"/>
          </p:cNvSpPr>
          <p:nvPr>
            <p:ph type="body" sz="quarter" idx="10" hasCustomPrompt="1"/>
          </p:nvPr>
        </p:nvSpPr>
        <p:spPr>
          <a:xfrm>
            <a:off x="3059832" y="2943225"/>
            <a:ext cx="4732338" cy="904875"/>
          </a:xfrm>
          <a:prstGeom prst="rect">
            <a:avLst/>
          </a:prstGeom>
        </p:spPr>
        <p:txBody>
          <a:bodyPr vert="horz" lIns="0" tIns="0"/>
          <a:lstStyle>
            <a:lvl1pPr marL="0" indent="0">
              <a:buNone/>
              <a:defRPr sz="1800" b="0" i="0">
                <a:solidFill>
                  <a:srgbClr val="696158"/>
                </a:solidFill>
                <a:latin typeface="Lato Light"/>
                <a:cs typeface="Lato Light"/>
              </a:defRPr>
            </a:lvl1pPr>
            <a:lvl2pPr marL="457200" indent="0">
              <a:buNone/>
              <a:defRPr sz="1800" b="0" i="0">
                <a:latin typeface="Lato Light"/>
                <a:cs typeface="Lato Light"/>
              </a:defRPr>
            </a:lvl2pPr>
            <a:lvl3pPr marL="914400" indent="0">
              <a:buNone/>
              <a:defRPr sz="1800" b="0" i="0">
                <a:latin typeface="Lato Light"/>
                <a:cs typeface="Lato Light"/>
              </a:defRPr>
            </a:lvl3pPr>
            <a:lvl4pPr marL="1371600" indent="0">
              <a:buNone/>
              <a:defRPr sz="1800" b="0" i="0">
                <a:latin typeface="Lato Light"/>
                <a:cs typeface="Lato Light"/>
              </a:defRPr>
            </a:lvl4pPr>
            <a:lvl5pPr marL="1828800" indent="0">
              <a:buNone/>
              <a:defRPr sz="1800" b="0" i="0">
                <a:latin typeface="Lato Light"/>
                <a:cs typeface="Lato Light"/>
              </a:defRPr>
            </a:lvl5pPr>
          </a:lstStyle>
          <a:p>
            <a:pPr lvl="0"/>
            <a:r>
              <a:rPr lang="es-ES_tradnl" dirty="0"/>
              <a:t>Texto  explicativo</a:t>
            </a:r>
            <a:endParaRPr lang="es-ES" dirty="0"/>
          </a:p>
        </p:txBody>
      </p:sp>
      <p:sp>
        <p:nvSpPr>
          <p:cNvPr id="11" name="Marcador de posición de imagen 8"/>
          <p:cNvSpPr>
            <a:spLocks noGrp="1"/>
          </p:cNvSpPr>
          <p:nvPr>
            <p:ph type="pic" sz="quarter" idx="11"/>
          </p:nvPr>
        </p:nvSpPr>
        <p:spPr>
          <a:xfrm>
            <a:off x="0" y="-6351"/>
            <a:ext cx="2982815" cy="5163567"/>
          </a:xfrm>
          <a:prstGeom prst="rect">
            <a:avLst/>
          </a:prstGeom>
        </p:spPr>
        <p:txBody>
          <a:bodyPr vert="horz"/>
          <a:lstStyle/>
          <a:p>
            <a:endParaRPr lang="es-ES"/>
          </a:p>
        </p:txBody>
      </p:sp>
      <p:pic>
        <p:nvPicPr>
          <p:cNvPr id="10" name="Imagen 9" descr="ARAUCO_CORTEZA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8671" y="70783"/>
            <a:ext cx="1406252" cy="36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956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0AC6211E-F01D-BD11-9070-FE6BB3150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37707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473" imgH="476" progId="TCLayout.ActiveDocument.1">
                  <p:embed/>
                </p:oleObj>
              </mc:Choice>
              <mc:Fallback>
                <p:oleObj name="Diapositiva de think-cell" r:id="rId14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2440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53" r:id="rId2"/>
    <p:sldLayoutId id="2147483740" r:id="rId3"/>
    <p:sldLayoutId id="2147483741" r:id="rId4"/>
    <p:sldLayoutId id="2147483742" r:id="rId5"/>
    <p:sldLayoutId id="2147483743" r:id="rId6"/>
    <p:sldLayoutId id="2147483751" r:id="rId7"/>
    <p:sldLayoutId id="2147483752" r:id="rId8"/>
    <p:sldLayoutId id="2147483750" r:id="rId9"/>
    <p:sldLayoutId id="2147483749" r:id="rId10"/>
    <p:sldLayoutId id="2147483754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Relationship Id="rId6" Type="http://schemas.openxmlformats.org/officeDocument/2006/relationships/image" Target="../media/image59.png"/><Relationship Id="rId5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6" Type="http://schemas.openxmlformats.org/officeDocument/2006/relationships/image" Target="../media/image63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0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5.png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7.png"/><Relationship Id="rId1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diagramLayout" Target="../diagrams/layout2.xml"/><Relationship Id="rId21" Type="http://schemas.openxmlformats.org/officeDocument/2006/relationships/image" Target="../media/image47.png"/><Relationship Id="rId7" Type="http://schemas.openxmlformats.org/officeDocument/2006/relationships/image" Target="../media/image34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diagramData" Target="../diagrams/data2.xml"/><Relationship Id="rId16" Type="http://schemas.openxmlformats.org/officeDocument/2006/relationships/image" Target="../media/image42.png"/><Relationship Id="rId20" Type="http://schemas.openxmlformats.org/officeDocument/2006/relationships/image" Target="../media/image46.png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11" Type="http://schemas.openxmlformats.org/officeDocument/2006/relationships/image" Target="../media/image11.png"/><Relationship Id="rId5" Type="http://schemas.openxmlformats.org/officeDocument/2006/relationships/diagramColors" Target="../diagrams/colors2.xml"/><Relationship Id="rId15" Type="http://schemas.openxmlformats.org/officeDocument/2006/relationships/image" Target="../media/image41.png"/><Relationship Id="rId10" Type="http://schemas.openxmlformats.org/officeDocument/2006/relationships/image" Target="../media/image37.png"/><Relationship Id="rId19" Type="http://schemas.openxmlformats.org/officeDocument/2006/relationships/image" Target="../media/image45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36.png"/><Relationship Id="rId14" Type="http://schemas.openxmlformats.org/officeDocument/2006/relationships/image" Target="../media/image40.png"/><Relationship Id="rId22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7.png"/><Relationship Id="rId3" Type="http://schemas.microsoft.com/office/2007/relationships/hdphoto" Target="../media/hdphoto2.wdp"/><Relationship Id="rId7" Type="http://schemas.openxmlformats.org/officeDocument/2006/relationships/image" Target="../media/image53.png"/><Relationship Id="rId12" Type="http://schemas.openxmlformats.org/officeDocument/2006/relationships/image" Target="../media/image11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2.png"/><Relationship Id="rId11" Type="http://schemas.openxmlformats.org/officeDocument/2006/relationships/image" Target="../media/image56.png"/><Relationship Id="rId5" Type="http://schemas.openxmlformats.org/officeDocument/2006/relationships/image" Target="../media/image51.png"/><Relationship Id="rId15" Type="http://schemas.openxmlformats.org/officeDocument/2006/relationships/image" Target="../media/image47.png"/><Relationship Id="rId10" Type="http://schemas.microsoft.com/office/2007/relationships/hdphoto" Target="../media/hdphoto3.wdp"/><Relationship Id="rId4" Type="http://schemas.openxmlformats.org/officeDocument/2006/relationships/image" Target="../media/image50.png"/><Relationship Id="rId9" Type="http://schemas.openxmlformats.org/officeDocument/2006/relationships/image" Target="../media/image55.png"/><Relationship Id="rId14" Type="http://schemas.openxmlformats.org/officeDocument/2006/relationships/image" Target="../media/image5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/>
          <p:cNvSpPr>
            <a:spLocks noGrp="1"/>
          </p:cNvSpPr>
          <p:nvPr>
            <p:ph type="subTitle" idx="1"/>
          </p:nvPr>
        </p:nvSpPr>
        <p:spPr>
          <a:xfrm>
            <a:off x="90114" y="4039386"/>
            <a:ext cx="4238046" cy="434487"/>
          </a:xfrm>
        </p:spPr>
        <p:txBody>
          <a:bodyPr/>
          <a:lstStyle/>
          <a:p>
            <a:r>
              <a:rPr lang="es-ES" sz="2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tección Incendios</a:t>
            </a:r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B40F4903-BEF4-7377-C2A6-C7BAFCDC4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0114" y="4473873"/>
            <a:ext cx="4278276" cy="371475"/>
          </a:xfrm>
        </p:spPr>
        <p:txBody>
          <a:bodyPr/>
          <a:lstStyle/>
          <a:p>
            <a:r>
              <a:rPr lang="es-CL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a Mirada Perpendicular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28771E30-64E3-F6A6-BDA0-B5334827447D}"/>
              </a:ext>
            </a:extLst>
          </p:cNvPr>
          <p:cNvGrpSpPr/>
          <p:nvPr/>
        </p:nvGrpSpPr>
        <p:grpSpPr>
          <a:xfrm>
            <a:off x="7584510" y="3886852"/>
            <a:ext cx="1486161" cy="1136607"/>
            <a:chOff x="7584510" y="3886852"/>
            <a:chExt cx="1486161" cy="1136607"/>
          </a:xfrm>
        </p:grpSpPr>
        <p:pic>
          <p:nvPicPr>
            <p:cNvPr id="4" name="Gráfico 3" descr="Helicóptero">
              <a:extLst>
                <a:ext uri="{FF2B5EF4-FFF2-40B4-BE49-F238E27FC236}">
                  <a16:creationId xmlns:a16="http://schemas.microsoft.com/office/drawing/2014/main" id="{CAE8D871-D67C-F0F1-4885-75EB5BD86A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584510" y="3886852"/>
              <a:ext cx="914400" cy="914400"/>
            </a:xfrm>
            <a:prstGeom prst="rect">
              <a:avLst/>
            </a:prstGeom>
          </p:spPr>
        </p:pic>
        <p:pic>
          <p:nvPicPr>
            <p:cNvPr id="5" name="Gráfico 4" descr="Escena de bosque">
              <a:extLst>
                <a:ext uri="{FF2B5EF4-FFF2-40B4-BE49-F238E27FC236}">
                  <a16:creationId xmlns:a16="http://schemas.microsoft.com/office/drawing/2014/main" id="{6AC14D91-24F2-86EB-6DA7-9E4E5063D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386175" y="4338963"/>
              <a:ext cx="684496" cy="684496"/>
            </a:xfrm>
            <a:prstGeom prst="rect">
              <a:avLst/>
            </a:prstGeom>
          </p:spPr>
        </p:pic>
        <p:pic>
          <p:nvPicPr>
            <p:cNvPr id="6" name="Gráfico 5" descr="Fuego">
              <a:extLst>
                <a:ext uri="{FF2B5EF4-FFF2-40B4-BE49-F238E27FC236}">
                  <a16:creationId xmlns:a16="http://schemas.microsoft.com/office/drawing/2014/main" id="{171D2BBA-49ED-0C86-1567-1E6B5E543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386175" y="4256630"/>
              <a:ext cx="304539" cy="304539"/>
            </a:xfrm>
            <a:prstGeom prst="rect">
              <a:avLst/>
            </a:prstGeom>
          </p:spPr>
        </p:pic>
      </p:grpSp>
      <p:pic>
        <p:nvPicPr>
          <p:cNvPr id="11" name="Imagen 10">
            <a:extLst>
              <a:ext uri="{FF2B5EF4-FFF2-40B4-BE49-F238E27FC236}">
                <a16:creationId xmlns:a16="http://schemas.microsoft.com/office/drawing/2014/main" id="{5EF9811C-A5DB-2B71-60F2-AEA3AEF9638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85173" y="0"/>
            <a:ext cx="4800286" cy="5143500"/>
          </a:xfrm>
          <a:prstGeom prst="rect">
            <a:avLst/>
          </a:prstGeom>
        </p:spPr>
      </p:pic>
      <p:pic>
        <p:nvPicPr>
          <p:cNvPr id="14" name="Imagen 13" descr="Dibujo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E098F170-17D0-F4C2-527C-4A6DFCFF22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51939" y="139439"/>
            <a:ext cx="1218732" cy="202809"/>
          </a:xfrm>
          <a:prstGeom prst="rect">
            <a:avLst/>
          </a:prstGeom>
        </p:spPr>
      </p:pic>
      <p:sp>
        <p:nvSpPr>
          <p:cNvPr id="15" name="CuadroTexto 14">
            <a:extLst>
              <a:ext uri="{FF2B5EF4-FFF2-40B4-BE49-F238E27FC236}">
                <a16:creationId xmlns:a16="http://schemas.microsoft.com/office/drawing/2014/main" id="{CD395AF4-ACFE-362D-4C25-B78CC075B378}"/>
              </a:ext>
            </a:extLst>
          </p:cNvPr>
          <p:cNvSpPr txBox="1"/>
          <p:nvPr/>
        </p:nvSpPr>
        <p:spPr>
          <a:xfrm>
            <a:off x="0" y="4774168"/>
            <a:ext cx="19321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i="1" dirty="0">
                <a:solidFill>
                  <a:schemeClr val="bg1"/>
                </a:solidFill>
              </a:rPr>
              <a:t>Fredy Rojas Bustos</a:t>
            </a:r>
          </a:p>
        </p:txBody>
      </p:sp>
    </p:spTree>
    <p:extLst>
      <p:ext uri="{BB962C8B-B14F-4D97-AF65-F5344CB8AC3E}">
        <p14:creationId xmlns:p14="http://schemas.microsoft.com/office/powerpoint/2010/main" val="36706175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A11690F4-02E2-2A8E-E8DC-E69937197D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6" progId="TCLayout.ActiveDocument.1">
                  <p:embed/>
                </p:oleObj>
              </mc:Choice>
              <mc:Fallback>
                <p:oleObj name="Diapositiva de think-cell" r:id="rId3" imgW="473" imgH="476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A11690F4-02E2-2A8E-E8DC-E69937197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rtlCol="0" anchor="ctr" anchorCtr="0" compatLnSpc="1">
            <a:prstTxWarp prst="textNoShape">
              <a:avLst/>
            </a:prstTxWarp>
            <a:normAutofit fontScale="90000"/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752" y="17837"/>
            <a:ext cx="1406249" cy="367798"/>
          </a:xfrm>
          <a:prstGeom prst="rect">
            <a:avLst/>
          </a:prstGeom>
        </p:spPr>
      </p:pic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43F4EF0B-6737-4FAC-98AE-0A08E6E46330}"/>
              </a:ext>
            </a:extLst>
          </p:cNvPr>
          <p:cNvCxnSpPr>
            <a:cxnSpLocks/>
          </p:cNvCxnSpPr>
          <p:nvPr/>
        </p:nvCxnSpPr>
        <p:spPr>
          <a:xfrm>
            <a:off x="0" y="411946"/>
            <a:ext cx="9144000" cy="0"/>
          </a:xfrm>
          <a:prstGeom prst="line">
            <a:avLst/>
          </a:prstGeom>
          <a:ln w="12700" cmpd="sng">
            <a:solidFill>
              <a:srgbClr val="E766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uadroTexto 8">
            <a:extLst>
              <a:ext uri="{FF2B5EF4-FFF2-40B4-BE49-F238E27FC236}">
                <a16:creationId xmlns:a16="http://schemas.microsoft.com/office/drawing/2014/main" id="{88A16543-A6B0-4F44-8424-C7ED2A83375F}"/>
              </a:ext>
            </a:extLst>
          </p:cNvPr>
          <p:cNvSpPr txBox="1"/>
          <p:nvPr/>
        </p:nvSpPr>
        <p:spPr>
          <a:xfrm>
            <a:off x="1590" y="34478"/>
            <a:ext cx="25506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>
                <a:solidFill>
                  <a:srgbClr val="EA7600"/>
                </a:solidFill>
                <a:latin typeface="Lato" panose="020F0502020204030203" pitchFamily="34" charset="0"/>
              </a:rPr>
              <a:t>Detección IA + Satélite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2AC8CFA-8D32-B5AE-2B0B-6F9B0B857410}"/>
              </a:ext>
            </a:extLst>
          </p:cNvPr>
          <p:cNvSpPr txBox="1"/>
          <p:nvPr/>
        </p:nvSpPr>
        <p:spPr>
          <a:xfrm>
            <a:off x="4703745" y="447046"/>
            <a:ext cx="42874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b="1" dirty="0">
                <a:solidFill>
                  <a:srgbClr val="EA7600"/>
                </a:solidFill>
                <a:latin typeface="Lato" panose="020F0502020204030203" pitchFamily="34" charset="0"/>
              </a:rPr>
              <a:t>Evolución Sensores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rgbClr val="EA7600"/>
                </a:solidFill>
                <a:latin typeface="Lato" panose="020F0502020204030203" pitchFamily="34" charset="0"/>
              </a:rPr>
              <a:t>Detección fija, 100% cámaras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rgbClr val="EA7600"/>
                </a:solidFill>
                <a:latin typeface="Lato" panose="020F0502020204030203" pitchFamily="34" charset="0"/>
              </a:rPr>
              <a:t>Satelital ha ido mejorando incrementa con Geoestacionarios y monitoreo de puntos, aún insuficiente.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s-CL" sz="1200" dirty="0">
                <a:solidFill>
                  <a:srgbClr val="EA7600"/>
                </a:solidFill>
                <a:latin typeface="Lato" panose="020F0502020204030203" pitchFamily="34" charset="0"/>
              </a:rPr>
              <a:t>Otros métodos convencionales, Patrullajes (Plan B), teléfono, otras centrales.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0ED916DC-BE9C-EA49-FD3E-84CB78C957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2613" y="3354340"/>
            <a:ext cx="1172430" cy="1717818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A37932EF-C563-0E04-82F5-87C18DC25BC7}"/>
              </a:ext>
            </a:extLst>
          </p:cNvPr>
          <p:cNvSpPr txBox="1"/>
          <p:nvPr/>
        </p:nvSpPr>
        <p:spPr>
          <a:xfrm>
            <a:off x="62761" y="443166"/>
            <a:ext cx="4336268" cy="127227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60 Sensores IA Propios + 50 Sensores Convenio.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iempo Promedio detección de 2 Minutos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istema - Satélite </a:t>
            </a:r>
            <a:r>
              <a:rPr lang="es-CL" sz="1050" dirty="0" err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roratech</a:t>
            </a: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CL" sz="105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90%</a:t>
            </a: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Detecciones por </a:t>
            </a:r>
            <a:r>
              <a:rPr lang="es-CL" sz="105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edios propios</a:t>
            </a: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s-CL" sz="105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3" name="Imagen 12">
            <a:extLst>
              <a:ext uri="{FF2B5EF4-FFF2-40B4-BE49-F238E27FC236}">
                <a16:creationId xmlns:a16="http://schemas.microsoft.com/office/drawing/2014/main" id="{3BBB28AE-6CCF-1B51-0253-8ADB94DE51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1695" y="3360267"/>
            <a:ext cx="2676414" cy="1711891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43DC7255-B8BA-E279-43FD-E3AEFF80F6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761" y="3363962"/>
            <a:ext cx="2063392" cy="1711891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338A4E2B-2068-7637-E5AA-A6277DE9C1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26639" y="3363961"/>
            <a:ext cx="2744570" cy="1711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0636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EC060B5A-3A2B-4C3E-BEED-928CC4BC0C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598" y="4368399"/>
            <a:ext cx="7570548" cy="774932"/>
          </a:xfrm>
        </p:spPr>
        <p:txBody>
          <a:bodyPr/>
          <a:lstStyle/>
          <a:p>
            <a:r>
              <a:rPr lang="es-C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portunidades y Desafíos</a:t>
            </a:r>
          </a:p>
        </p:txBody>
      </p:sp>
    </p:spTree>
    <p:extLst>
      <p:ext uri="{BB962C8B-B14F-4D97-AF65-F5344CB8AC3E}">
        <p14:creationId xmlns:p14="http://schemas.microsoft.com/office/powerpoint/2010/main" val="16621863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>
            <a:extLst>
              <a:ext uri="{FF2B5EF4-FFF2-40B4-BE49-F238E27FC236}">
                <a16:creationId xmlns:a16="http://schemas.microsoft.com/office/drawing/2014/main" id="{A11690F4-02E2-2A8E-E8DC-E69937197D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73" imgH="476" progId="TCLayout.ActiveDocument.1">
                  <p:embed/>
                </p:oleObj>
              </mc:Choice>
              <mc:Fallback>
                <p:oleObj name="Diapositiva de think-cell" r:id="rId3" imgW="473" imgH="476" progId="TCLayout.ActiveDocument.1">
                  <p:embed/>
                  <p:pic>
                    <p:nvPicPr>
                      <p:cNvPr id="24" name="Objeto 23" hidden="1">
                        <a:extLst>
                          <a:ext uri="{FF2B5EF4-FFF2-40B4-BE49-F238E27FC236}">
                            <a16:creationId xmlns:a16="http://schemas.microsoft.com/office/drawing/2014/main" id="{A11690F4-02E2-2A8E-E8DC-E69937197D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rtlCol="0" anchor="ctr" anchorCtr="0" compatLnSpc="1">
            <a:prstTxWarp prst="textNoShape">
              <a:avLst/>
            </a:prstTxWarp>
            <a:normAutofit fontScale="90000"/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752" y="17837"/>
            <a:ext cx="1406249" cy="367798"/>
          </a:xfrm>
          <a:prstGeom prst="rect">
            <a:avLst/>
          </a:prstGeom>
        </p:spPr>
      </p:pic>
      <p:cxnSp>
        <p:nvCxnSpPr>
          <p:cNvPr id="8" name="Straight Connector 8">
            <a:extLst>
              <a:ext uri="{FF2B5EF4-FFF2-40B4-BE49-F238E27FC236}">
                <a16:creationId xmlns:a16="http://schemas.microsoft.com/office/drawing/2014/main" id="{43F4EF0B-6737-4FAC-98AE-0A08E6E46330}"/>
              </a:ext>
            </a:extLst>
          </p:cNvPr>
          <p:cNvCxnSpPr>
            <a:cxnSpLocks/>
          </p:cNvCxnSpPr>
          <p:nvPr/>
        </p:nvCxnSpPr>
        <p:spPr>
          <a:xfrm>
            <a:off x="0" y="411946"/>
            <a:ext cx="9144000" cy="0"/>
          </a:xfrm>
          <a:prstGeom prst="line">
            <a:avLst/>
          </a:prstGeom>
          <a:ln w="12700" cmpd="sng">
            <a:solidFill>
              <a:srgbClr val="E766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uadroTexto 8">
            <a:extLst>
              <a:ext uri="{FF2B5EF4-FFF2-40B4-BE49-F238E27FC236}">
                <a16:creationId xmlns:a16="http://schemas.microsoft.com/office/drawing/2014/main" id="{88A16543-A6B0-4F44-8424-C7ED2A83375F}"/>
              </a:ext>
            </a:extLst>
          </p:cNvPr>
          <p:cNvSpPr txBox="1"/>
          <p:nvPr/>
        </p:nvSpPr>
        <p:spPr>
          <a:xfrm>
            <a:off x="1590" y="34478"/>
            <a:ext cx="28600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b="1" dirty="0">
                <a:solidFill>
                  <a:srgbClr val="EA7600"/>
                </a:solidFill>
                <a:latin typeface="Lato" panose="020F0502020204030203" pitchFamily="34" charset="0"/>
              </a:rPr>
              <a:t>Oportunidades y Desafíos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02AC8CFA-8D32-B5AE-2B0B-6F9B0B857410}"/>
              </a:ext>
            </a:extLst>
          </p:cNvPr>
          <p:cNvSpPr txBox="1"/>
          <p:nvPr/>
        </p:nvSpPr>
        <p:spPr>
          <a:xfrm>
            <a:off x="4793834" y="906176"/>
            <a:ext cx="428740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b="1" dirty="0">
                <a:solidFill>
                  <a:srgbClr val="EA7600"/>
                </a:solidFill>
                <a:latin typeface="Lato" panose="020F0502020204030203" pitchFamily="34" charset="0"/>
              </a:rPr>
              <a:t>Detección Satelital con más y mejores sensores.</a:t>
            </a:r>
          </a:p>
          <a:p>
            <a:r>
              <a:rPr lang="es-CL" sz="1200" b="1" dirty="0">
                <a:solidFill>
                  <a:srgbClr val="EA7600"/>
                </a:solidFill>
                <a:latin typeface="Lato" panose="020F0502020204030203" pitchFamily="34" charset="0"/>
              </a:rPr>
              <a:t>Mejor detalle del punto de inicio</a:t>
            </a:r>
          </a:p>
          <a:p>
            <a:r>
              <a:rPr lang="es-CL" sz="1200" b="1" dirty="0">
                <a:solidFill>
                  <a:srgbClr val="EA7600"/>
                </a:solidFill>
                <a:latin typeface="Lato" panose="020F0502020204030203" pitchFamily="34" charset="0"/>
              </a:rPr>
              <a:t>Mejores Modelos de Propagación.</a:t>
            </a:r>
          </a:p>
          <a:p>
            <a:r>
              <a:rPr lang="es-CL" sz="1200" b="1" dirty="0">
                <a:solidFill>
                  <a:srgbClr val="EA7600"/>
                </a:solidFill>
                <a:latin typeface="Lato" panose="020F0502020204030203" pitchFamily="34" charset="0"/>
              </a:rPr>
              <a:t>Mejores Modelos de Asignación de Recursos.</a:t>
            </a:r>
          </a:p>
          <a:p>
            <a:r>
              <a:rPr lang="es-CL" sz="1200" b="1" dirty="0">
                <a:solidFill>
                  <a:srgbClr val="EA7600"/>
                </a:solidFill>
                <a:latin typeface="Lato" panose="020F0502020204030203" pitchFamily="34" charset="0"/>
              </a:rPr>
              <a:t>Mejores Planificaciones Territoriales</a:t>
            </a:r>
          </a:p>
          <a:p>
            <a:r>
              <a:rPr lang="es-CL" sz="1200" b="1" dirty="0">
                <a:solidFill>
                  <a:srgbClr val="EA7600"/>
                </a:solidFill>
                <a:latin typeface="Lato" panose="020F0502020204030203" pitchFamily="34" charset="0"/>
              </a:rPr>
              <a:t>Posibilidad de Expandir al otros países.</a:t>
            </a:r>
            <a:endParaRPr lang="es-CL" sz="1200" dirty="0">
              <a:solidFill>
                <a:srgbClr val="EA7600"/>
              </a:solidFill>
              <a:latin typeface="Lato" panose="020F0502020204030203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37932EF-C563-0E04-82F5-87C18DC25BC7}"/>
              </a:ext>
            </a:extLst>
          </p:cNvPr>
          <p:cNvSpPr txBox="1"/>
          <p:nvPr/>
        </p:nvSpPr>
        <p:spPr>
          <a:xfrm>
            <a:off x="62761" y="443166"/>
            <a:ext cx="4336268" cy="175701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blema de los incendios va en incremento en el mundo, afecta vidas, viviendas y medio ambiente.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hile posee las mejores tecnologías de Detección, Combate y Despacho.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l modelo de trabajo Chileno integra colaboración publico privada.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s-CL" sz="105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iste oportunidad de desarrollo de tecnología. 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s-CL" sz="105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182799E-F053-2AC6-A555-7BE472597D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3797" y="2306290"/>
            <a:ext cx="3221761" cy="2496864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2856356-7CBD-A68E-1659-62C49D3CA1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1" y="2304452"/>
            <a:ext cx="2647097" cy="2498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8628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anchor="ctr" anchorCtr="0" compatLnSpc="1">
            <a:prstTxWarp prst="textNoShape">
              <a:avLst/>
            </a:prstTxWarp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A9806BE5-C8B3-4374-B869-E07B39014C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7129F0C7-F9C2-4ED9-A2E8-CB79DC02C7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91" y="9480"/>
            <a:ext cx="1406249" cy="367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9621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anchor="ctr" anchorCtr="0" compatLnSpc="1">
            <a:prstTxWarp prst="textNoShape">
              <a:avLst/>
            </a:prstTxWarp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8A16543-A6B0-4F44-8424-C7ED2A83375F}"/>
              </a:ext>
            </a:extLst>
          </p:cNvPr>
          <p:cNvSpPr txBox="1"/>
          <p:nvPr/>
        </p:nvSpPr>
        <p:spPr>
          <a:xfrm>
            <a:off x="0" y="0"/>
            <a:ext cx="13821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000" b="1" dirty="0">
                <a:solidFill>
                  <a:srgbClr val="EA76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tenido</a:t>
            </a:r>
          </a:p>
        </p:txBody>
      </p:sp>
      <p:sp>
        <p:nvSpPr>
          <p:cNvPr id="10" name="Marcador de texto 2">
            <a:extLst>
              <a:ext uri="{FF2B5EF4-FFF2-40B4-BE49-F238E27FC236}">
                <a16:creationId xmlns:a16="http://schemas.microsoft.com/office/drawing/2014/main" id="{33E64BBA-46FB-405D-AE2B-65C88FA80235}"/>
              </a:ext>
            </a:extLst>
          </p:cNvPr>
          <p:cNvSpPr txBox="1">
            <a:spLocks/>
          </p:cNvSpPr>
          <p:nvPr/>
        </p:nvSpPr>
        <p:spPr>
          <a:xfrm>
            <a:off x="1389405" y="1364510"/>
            <a:ext cx="5351722" cy="1825258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1600" dirty="0">
              <a:latin typeface="Lato" panose="020F0502020204030203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A175ECF-A63B-45E0-A6D2-1C4C5042831B}"/>
              </a:ext>
            </a:extLst>
          </p:cNvPr>
          <p:cNvSpPr txBox="1"/>
          <p:nvPr/>
        </p:nvSpPr>
        <p:spPr>
          <a:xfrm>
            <a:off x="1124373" y="1771531"/>
            <a:ext cx="432339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400" eaLnBrk="1">
              <a:buSzPct val="100000"/>
              <a:buFont typeface="Arial" panose="020B0604020202020204" pitchFamily="34" charset="0"/>
              <a:buChar char="•"/>
            </a:pPr>
            <a:r>
              <a:rPr lang="es-CL" altLang="es-CL" sz="140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texto</a:t>
            </a:r>
          </a:p>
          <a:p>
            <a:pPr marL="285750" indent="-285750" defTabSz="914400" eaLnBrk="1">
              <a:buSzPct val="100000"/>
              <a:buFont typeface="Arial" panose="020B0604020202020204" pitchFamily="34" charset="0"/>
              <a:buChar char="•"/>
            </a:pPr>
            <a:r>
              <a:rPr lang="es-CL" altLang="es-CL" sz="1400" b="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tección de Incendios</a:t>
            </a:r>
          </a:p>
          <a:p>
            <a:pPr marL="285750" indent="-285750" defTabSz="914400" eaLnBrk="1">
              <a:buSzPct val="100000"/>
              <a:buFont typeface="Arial" panose="020B0604020202020204" pitchFamily="34" charset="0"/>
              <a:buChar char="•"/>
            </a:pPr>
            <a:r>
              <a:rPr lang="es-CL" altLang="es-CL" sz="1400" b="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pacho</a:t>
            </a:r>
          </a:p>
          <a:p>
            <a:pPr marL="285750" indent="-285750" defTabSz="914400" eaLnBrk="1">
              <a:buSzPct val="100000"/>
              <a:buFont typeface="Arial" panose="020B0604020202020204" pitchFamily="34" charset="0"/>
              <a:buChar char="•"/>
            </a:pPr>
            <a:r>
              <a:rPr lang="es-CL" altLang="es-CL" sz="140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portunidades y Desafíos</a:t>
            </a:r>
            <a:endParaRPr lang="es-CL" altLang="es-CL" sz="1400" b="0" dirty="0">
              <a:solidFill>
                <a:srgbClr val="696158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46BD429D-1C97-4E1C-ACFE-CF002E4B4A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7509" y="4896608"/>
            <a:ext cx="945664" cy="247334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F6B8779A-6FEC-4508-ACE2-7D863239A2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3173" y="0"/>
            <a:ext cx="365082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368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anchor="ctr" anchorCtr="0" compatLnSpc="1">
            <a:prstTxWarp prst="textNoShape">
              <a:avLst/>
            </a:prstTxWarp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7509" y="4896608"/>
            <a:ext cx="945664" cy="247334"/>
          </a:xfrm>
          <a:prstGeom prst="rect">
            <a:avLst/>
          </a:prstGeom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88A16543-A6B0-4F44-8424-C7ED2A83375F}"/>
              </a:ext>
            </a:extLst>
          </p:cNvPr>
          <p:cNvSpPr txBox="1"/>
          <p:nvPr/>
        </p:nvSpPr>
        <p:spPr>
          <a:xfrm>
            <a:off x="1589" y="12174"/>
            <a:ext cx="30861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000" b="1" dirty="0">
                <a:solidFill>
                  <a:srgbClr val="EA7600"/>
                </a:solidFill>
                <a:latin typeface="Lato" panose="020F0502020204030203" pitchFamily="34" charset="0"/>
              </a:rPr>
              <a:t>Recurso Forestal en Chile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AECC20FB-231A-4BFC-978E-3490852A548A}"/>
              </a:ext>
            </a:extLst>
          </p:cNvPr>
          <p:cNvSpPr txBox="1"/>
          <p:nvPr/>
        </p:nvSpPr>
        <p:spPr>
          <a:xfrm>
            <a:off x="211021" y="534803"/>
            <a:ext cx="4605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>
              <a:spcBef>
                <a:spcPts val="200"/>
              </a:spcBef>
            </a:pPr>
            <a:r>
              <a:rPr lang="es-CL" altLang="es-CL" sz="1800" b="0" dirty="0">
                <a:solidFill>
                  <a:srgbClr val="696158"/>
                </a:solidFill>
                <a:latin typeface="Lato" panose="020F0502020204030203" pitchFamily="34" charset="0"/>
              </a:rPr>
              <a:t>Chile cuenta con 1</a:t>
            </a:r>
            <a:r>
              <a:rPr lang="es-CL" altLang="es-CL" dirty="0">
                <a:solidFill>
                  <a:srgbClr val="696158"/>
                </a:solidFill>
                <a:latin typeface="Lato" panose="020F0502020204030203" pitchFamily="34" charset="0"/>
              </a:rPr>
              <a:t>7</a:t>
            </a:r>
            <a:r>
              <a:rPr lang="es-CL" altLang="es-CL" sz="1800" b="0" dirty="0">
                <a:solidFill>
                  <a:srgbClr val="696158"/>
                </a:solidFill>
                <a:latin typeface="Lato" panose="020F0502020204030203" pitchFamily="34" charset="0"/>
              </a:rPr>
              <a:t> MM ha de bosques*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EE7AA02C-AE0B-4A06-A11C-AF117C73FBF2}"/>
              </a:ext>
            </a:extLst>
          </p:cNvPr>
          <p:cNvSpPr txBox="1"/>
          <p:nvPr/>
        </p:nvSpPr>
        <p:spPr>
          <a:xfrm>
            <a:off x="324638" y="1001533"/>
            <a:ext cx="460586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914400" eaLnBrk="1">
              <a:buSzPct val="100000"/>
              <a:buFont typeface="Arial" panose="020B0604020202020204" pitchFamily="34" charset="0"/>
              <a:buChar char="•"/>
            </a:pPr>
            <a:r>
              <a:rPr lang="es-CL" altLang="es-CL" sz="110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86% bosques nativos </a:t>
            </a:r>
            <a:r>
              <a:rPr lang="es-CL" altLang="es-CL" sz="1100" b="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14,</a:t>
            </a:r>
            <a:r>
              <a:rPr lang="es-CL" altLang="es-CL" sz="110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</a:t>
            </a:r>
            <a:r>
              <a:rPr lang="es-CL" altLang="es-CL" sz="1100" b="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MM ha)</a:t>
            </a:r>
          </a:p>
          <a:p>
            <a:pPr marL="285750" indent="-285750" algn="just" defTabSz="914400" eaLnBrk="1">
              <a:buSzPct val="100000"/>
              <a:buFont typeface="Arial" panose="020B0604020202020204" pitchFamily="34" charset="0"/>
              <a:buChar char="•"/>
            </a:pPr>
            <a:r>
              <a:rPr lang="es-CL" altLang="es-CL" sz="110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4% plantaciones forestales  (2,4 MM ha)</a:t>
            </a:r>
          </a:p>
          <a:p>
            <a:pPr algn="just" defTabSz="914400" eaLnBrk="1">
              <a:buSzPct val="100000"/>
            </a:pPr>
            <a:endParaRPr lang="es-CL" altLang="es-CL" sz="1100" b="0" dirty="0">
              <a:solidFill>
                <a:srgbClr val="696158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indent="-285750" algn="just" defTabSz="914400" eaLnBrk="1">
              <a:buSzPct val="100000"/>
              <a:buFont typeface="Arial" panose="020B0604020202020204" pitchFamily="34" charset="0"/>
              <a:buChar char="•"/>
            </a:pPr>
            <a:r>
              <a:rPr lang="es-CL" altLang="es-CL" sz="1100" b="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unque hay </a:t>
            </a:r>
            <a:r>
              <a:rPr lang="es-CL" altLang="es-CL" sz="110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</a:t>
            </a:r>
            <a:r>
              <a:rPr lang="es-CL" altLang="es-CL" sz="1100" b="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veces más bosques naturales que plantaciones, el </a:t>
            </a:r>
            <a:r>
              <a:rPr lang="es-CL" altLang="es-CL" sz="110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99%</a:t>
            </a:r>
            <a:r>
              <a:rPr lang="es-CL" altLang="es-CL" sz="1100" b="0" dirty="0">
                <a:solidFill>
                  <a:srgbClr val="696158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de la madera industrial proviene de plantaciones.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E84C461A-1261-450F-B3D8-25A7357AFD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3173" y="0"/>
            <a:ext cx="3650827" cy="5138123"/>
          </a:xfrm>
          <a:prstGeom prst="rect">
            <a:avLst/>
          </a:prstGeom>
        </p:spPr>
      </p:pic>
      <p:sp>
        <p:nvSpPr>
          <p:cNvPr id="22" name="CuadroTexto 21">
            <a:extLst>
              <a:ext uri="{FF2B5EF4-FFF2-40B4-BE49-F238E27FC236}">
                <a16:creationId xmlns:a16="http://schemas.microsoft.com/office/drawing/2014/main" id="{6C8B1F6D-5A6D-4FF7-8ECE-B8FFF012581F}"/>
              </a:ext>
            </a:extLst>
          </p:cNvPr>
          <p:cNvSpPr txBox="1"/>
          <p:nvPr/>
        </p:nvSpPr>
        <p:spPr>
          <a:xfrm>
            <a:off x="7876378" y="4874194"/>
            <a:ext cx="118634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CL" altLang="es-CL" sz="900" i="1" dirty="0">
                <a:solidFill>
                  <a:schemeClr val="bg1"/>
                </a:solidFill>
                <a:latin typeface="Lato" panose="020F0502020204030203" pitchFamily="34" charset="0"/>
              </a:rPr>
              <a:t>Foto: </a:t>
            </a:r>
            <a:r>
              <a:rPr lang="es-CL" altLang="es-CL" sz="900" b="0" i="1" dirty="0">
                <a:solidFill>
                  <a:schemeClr val="bg1"/>
                </a:solidFill>
                <a:latin typeface="Lato" panose="020F0502020204030203" pitchFamily="34" charset="0"/>
              </a:rPr>
              <a:t>CORMA</a:t>
            </a:r>
            <a:endParaRPr lang="es-CL" altLang="es-CL" sz="1050" b="0" i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pic>
        <p:nvPicPr>
          <p:cNvPr id="10" name="Imagen 9" descr="Captura de pantalla 2015-07-10 a la(s) 13.34.41.png">
            <a:extLst>
              <a:ext uri="{FF2B5EF4-FFF2-40B4-BE49-F238E27FC236}">
                <a16:creationId xmlns:a16="http://schemas.microsoft.com/office/drawing/2014/main" id="{C08F962F-6463-4925-A3FC-968A403096B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7"/>
          <a:stretch/>
        </p:blipFill>
        <p:spPr>
          <a:xfrm>
            <a:off x="2895039" y="2413093"/>
            <a:ext cx="2125302" cy="2349227"/>
          </a:xfrm>
          <a:prstGeom prst="rect">
            <a:avLst/>
          </a:prstGeom>
        </p:spPr>
      </p:pic>
      <p:sp>
        <p:nvSpPr>
          <p:cNvPr id="2" name="object 8">
            <a:extLst>
              <a:ext uri="{FF2B5EF4-FFF2-40B4-BE49-F238E27FC236}">
                <a16:creationId xmlns:a16="http://schemas.microsoft.com/office/drawing/2014/main" id="{58C935F5-611C-6FD7-1768-CBF1BD7024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638" y="2354020"/>
            <a:ext cx="2517300" cy="1170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just">
              <a:buClr>
                <a:schemeClr val="bg1">
                  <a:lumMod val="50000"/>
                </a:schemeClr>
              </a:buClr>
              <a:buSzPct val="130000"/>
            </a:pPr>
            <a:r>
              <a:rPr lang="es-ES" sz="1100" dirty="0">
                <a:solidFill>
                  <a:srgbClr val="696158"/>
                </a:solidFill>
                <a:latin typeface="Lato" panose="020F0502020204030203" pitchFamily="34" charset="0"/>
                <a:cs typeface="Arial" charset="0"/>
              </a:rPr>
              <a:t>La actividad forestal es la </a:t>
            </a:r>
            <a:r>
              <a:rPr lang="es-ES" sz="1100" b="1" dirty="0">
                <a:solidFill>
                  <a:srgbClr val="BFB800"/>
                </a:solidFill>
                <a:latin typeface="Lato" panose="020F0502020204030203" pitchFamily="34" charset="0"/>
                <a:cs typeface="Arial" charset="0"/>
              </a:rPr>
              <a:t>base de todas las unidades de negocios </a:t>
            </a:r>
            <a:r>
              <a:rPr lang="es-ES" sz="1100" dirty="0">
                <a:solidFill>
                  <a:srgbClr val="696158"/>
                </a:solidFill>
                <a:latin typeface="Lato" panose="020F0502020204030203" pitchFamily="34" charset="0"/>
                <a:cs typeface="Arial" charset="0"/>
              </a:rPr>
              <a:t>de ARAUCO.</a:t>
            </a:r>
          </a:p>
          <a:p>
            <a:pPr algn="just">
              <a:buClr>
                <a:schemeClr val="bg1">
                  <a:lumMod val="50000"/>
                </a:schemeClr>
              </a:buClr>
              <a:buSzPct val="130000"/>
            </a:pPr>
            <a:endParaRPr lang="es-ES" sz="1100" dirty="0">
              <a:solidFill>
                <a:srgbClr val="696158"/>
              </a:solidFill>
              <a:latin typeface="Lato" panose="020F0502020204030203" pitchFamily="34" charset="0"/>
              <a:cs typeface="Arial" charset="0"/>
            </a:endParaRPr>
          </a:p>
          <a:p>
            <a:pPr algn="just">
              <a:buClr>
                <a:schemeClr val="bg1">
                  <a:lumMod val="50000"/>
                </a:schemeClr>
              </a:buClr>
              <a:buSzPct val="130000"/>
            </a:pPr>
            <a:r>
              <a:rPr lang="es-ES" sz="1100" dirty="0">
                <a:solidFill>
                  <a:srgbClr val="696158"/>
                </a:solidFill>
                <a:latin typeface="Lato" panose="020F0502020204030203" pitchFamily="34" charset="0"/>
                <a:cs typeface="Arial" charset="0"/>
              </a:rPr>
              <a:t>A nivel global Arauco tiene </a:t>
            </a:r>
            <a:r>
              <a:rPr lang="es-ES" sz="1100" b="1" dirty="0">
                <a:solidFill>
                  <a:srgbClr val="BFB800"/>
                </a:solidFill>
                <a:latin typeface="Lato" panose="020F0502020204030203" pitchFamily="34" charset="0"/>
                <a:cs typeface="Arial" charset="0"/>
              </a:rPr>
              <a:t>aproximadamente un millón </a:t>
            </a:r>
            <a:r>
              <a:rPr lang="es-ES" sz="1100" dirty="0">
                <a:solidFill>
                  <a:srgbClr val="696158"/>
                </a:solidFill>
                <a:latin typeface="Lato" panose="020F0502020204030203" pitchFamily="34" charset="0"/>
                <a:cs typeface="Arial" charset="0"/>
              </a:rPr>
              <a:t>de hectáreas plantadas.</a:t>
            </a:r>
            <a:endParaRPr lang="es-ES" sz="1100" b="1" dirty="0">
              <a:solidFill>
                <a:srgbClr val="BFB800"/>
              </a:solidFill>
              <a:latin typeface="Lato" panose="020F0502020204030203" pitchFamily="34" charset="0"/>
              <a:cs typeface="Arial" charset="0"/>
            </a:endParaRPr>
          </a:p>
          <a:p>
            <a:pPr marL="171450" indent="-171450" algn="just">
              <a:buClr>
                <a:schemeClr val="bg1">
                  <a:lumMod val="50000"/>
                </a:schemeClr>
              </a:buClr>
              <a:buSzPct val="130000"/>
              <a:buFont typeface="Arial" panose="020B0604020202020204" pitchFamily="34" charset="0"/>
              <a:buChar char="•"/>
            </a:pPr>
            <a:endParaRPr lang="es-ES" sz="1100" b="1" dirty="0">
              <a:solidFill>
                <a:srgbClr val="BFB800"/>
              </a:solidFill>
              <a:latin typeface="Lato" panose="020F0502020204030203" pitchFamily="34" charset="0"/>
              <a:cs typeface="Arial" charset="0"/>
            </a:endParaRPr>
          </a:p>
          <a:p>
            <a:pPr algn="just">
              <a:buClr>
                <a:schemeClr val="bg1">
                  <a:lumMod val="50000"/>
                </a:schemeClr>
              </a:buClr>
              <a:buSzPct val="130000"/>
            </a:pPr>
            <a:endParaRPr lang="es-ES" sz="1100" dirty="0">
              <a:latin typeface="Lato" panose="020F0502020204030203" pitchFamily="34" charset="0"/>
              <a:cs typeface="Arial" charset="0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70F97A9-F553-29E8-4E0E-C7CF139548D1}"/>
              </a:ext>
            </a:extLst>
          </p:cNvPr>
          <p:cNvSpPr txBox="1"/>
          <p:nvPr/>
        </p:nvSpPr>
        <p:spPr>
          <a:xfrm>
            <a:off x="283335" y="4920247"/>
            <a:ext cx="1013419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00" dirty="0"/>
              <a:t>*Fuente: CORMA 2024</a:t>
            </a:r>
          </a:p>
        </p:txBody>
      </p:sp>
    </p:spTree>
    <p:extLst>
      <p:ext uri="{BB962C8B-B14F-4D97-AF65-F5344CB8AC3E}">
        <p14:creationId xmlns:p14="http://schemas.microsoft.com/office/powerpoint/2010/main" val="4101155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B96B6FE9-4B92-4592-9EED-47584CDFF2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473" imgH="473" progId="TCLayout.ActiveDocument.1">
                  <p:embed/>
                </p:oleObj>
              </mc:Choice>
              <mc:Fallback>
                <p:oleObj name="Diapositiva de think-cell" r:id="rId4" imgW="473" imgH="47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B96B6FE9-4B92-4592-9EED-47584CDFF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EF630A43-E251-493B-90BC-947FAFD12B64}"/>
              </a:ext>
            </a:extLst>
          </p:cNvPr>
          <p:cNvSpPr/>
          <p:nvPr/>
        </p:nvSpPr>
        <p:spPr>
          <a:xfrm>
            <a:off x="0" y="2720"/>
            <a:ext cx="3093244" cy="5143500"/>
          </a:xfrm>
          <a:prstGeom prst="rect">
            <a:avLst/>
          </a:prstGeom>
          <a:solidFill>
            <a:srgbClr val="6A615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684" fontAlgn="base">
              <a:spcBef>
                <a:spcPct val="0"/>
              </a:spcBef>
              <a:spcAft>
                <a:spcPct val="0"/>
              </a:spcAft>
              <a:defRPr/>
            </a:pPr>
            <a:endParaRPr lang="es-CL" sz="75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31CB1927-4BF3-143F-30C1-2E1A3E7861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6771" y="3655566"/>
            <a:ext cx="2798654" cy="1481640"/>
          </a:xfrm>
          <a:prstGeom prst="rect">
            <a:avLst/>
          </a:prstGeom>
          <a:ln>
            <a:solidFill>
              <a:srgbClr val="F5F5F5"/>
            </a:solidFill>
          </a:ln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5D9FFFDE-26AF-CDE9-BCBB-CDFA6EB8F47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6771" y="1200147"/>
            <a:ext cx="2802780" cy="1420588"/>
          </a:xfrm>
          <a:prstGeom prst="rect">
            <a:avLst/>
          </a:prstGeom>
          <a:ln>
            <a:solidFill>
              <a:srgbClr val="F5F5F5"/>
            </a:solidFill>
          </a:ln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712B65E3-40C7-5826-DCBF-9397EB00E9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3689" y="1200147"/>
            <a:ext cx="1275863" cy="1420588"/>
          </a:xfrm>
          <a:prstGeom prst="rect">
            <a:avLst/>
          </a:prstGeom>
          <a:ln>
            <a:solidFill>
              <a:srgbClr val="F5F5F5"/>
            </a:solidFill>
          </a:ln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2CBD1774-09B0-ADF1-DABF-8DA968311D1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25806" y="2628899"/>
            <a:ext cx="1275864" cy="1327507"/>
          </a:xfrm>
          <a:prstGeom prst="rect">
            <a:avLst/>
          </a:prstGeom>
          <a:ln>
            <a:solidFill>
              <a:srgbClr val="F5F5F5"/>
            </a:solidFill>
          </a:ln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646E9DC8-E4D1-1CC6-62E8-41AC8A7932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18000" y="2637064"/>
            <a:ext cx="1517837" cy="1319342"/>
          </a:xfrm>
          <a:prstGeom prst="rect">
            <a:avLst/>
          </a:prstGeom>
          <a:ln>
            <a:solidFill>
              <a:srgbClr val="F5F5F5"/>
            </a:solidFill>
          </a:ln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2703E468-4361-C040-2FF5-446CD6E80E4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25806" y="10474"/>
            <a:ext cx="2803745" cy="1184741"/>
          </a:xfrm>
          <a:prstGeom prst="rect">
            <a:avLst/>
          </a:prstGeom>
          <a:ln>
            <a:solidFill>
              <a:srgbClr val="F5F5F5"/>
            </a:solidFill>
          </a:ln>
        </p:spPr>
      </p:pic>
      <p:pic>
        <p:nvPicPr>
          <p:cNvPr id="3" name="Imagen 2" descr="Dibujo en blanco y negro&#10;&#10;Descripción generada automáticamente con confianza media">
            <a:extLst>
              <a:ext uri="{FF2B5EF4-FFF2-40B4-BE49-F238E27FC236}">
                <a16:creationId xmlns:a16="http://schemas.microsoft.com/office/drawing/2014/main" id="{1FF9AF52-4AC0-5010-B108-B4894391465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6016" y="86868"/>
            <a:ext cx="942808" cy="156893"/>
          </a:xfrm>
          <a:prstGeom prst="rect">
            <a:avLst/>
          </a:prstGeom>
        </p:spPr>
      </p:pic>
      <p:grpSp>
        <p:nvGrpSpPr>
          <p:cNvPr id="14" name="Grupo 13">
            <a:extLst>
              <a:ext uri="{FF2B5EF4-FFF2-40B4-BE49-F238E27FC236}">
                <a16:creationId xmlns:a16="http://schemas.microsoft.com/office/drawing/2014/main" id="{10EA0817-5B3C-E97E-79B9-83A073F950F5}"/>
              </a:ext>
            </a:extLst>
          </p:cNvPr>
          <p:cNvGrpSpPr/>
          <p:nvPr/>
        </p:nvGrpSpPr>
        <p:grpSpPr>
          <a:xfrm>
            <a:off x="3104174" y="0"/>
            <a:ext cx="5789297" cy="5149200"/>
            <a:chOff x="4138899" y="0"/>
            <a:chExt cx="7719062" cy="6865600"/>
          </a:xfrm>
        </p:grpSpPr>
        <p:pic>
          <p:nvPicPr>
            <p:cNvPr id="24" name="Imagen 23">
              <a:extLst>
                <a:ext uri="{FF2B5EF4-FFF2-40B4-BE49-F238E27FC236}">
                  <a16:creationId xmlns:a16="http://schemas.microsoft.com/office/drawing/2014/main" id="{A8FE3389-AB92-3007-12FF-0DC111A6FF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flipH="1">
              <a:off x="4138899" y="1"/>
              <a:ext cx="4273734" cy="6861626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2" name="Imagen 11" descr="Forma, Polígono&#10;&#10;Descripción generada automáticamente">
              <a:extLst>
                <a:ext uri="{FF2B5EF4-FFF2-40B4-BE49-F238E27FC236}">
                  <a16:creationId xmlns:a16="http://schemas.microsoft.com/office/drawing/2014/main" id="{4476DC4D-84A0-A79A-758D-30F6B902C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7304" y="0"/>
              <a:ext cx="6890657" cy="6865600"/>
            </a:xfrm>
            <a:prstGeom prst="rect">
              <a:avLst/>
            </a:prstGeom>
          </p:spPr>
        </p:pic>
      </p:grpSp>
      <p:sp>
        <p:nvSpPr>
          <p:cNvPr id="8" name="CuadroTexto 7">
            <a:extLst>
              <a:ext uri="{FF2B5EF4-FFF2-40B4-BE49-F238E27FC236}">
                <a16:creationId xmlns:a16="http://schemas.microsoft.com/office/drawing/2014/main" id="{72115518-364C-473D-A602-EE58A5E3B183}"/>
              </a:ext>
            </a:extLst>
          </p:cNvPr>
          <p:cNvSpPr txBox="1"/>
          <p:nvPr/>
        </p:nvSpPr>
        <p:spPr>
          <a:xfrm>
            <a:off x="0" y="4094865"/>
            <a:ext cx="9141917" cy="1061829"/>
          </a:xfrm>
          <a:prstGeom prst="rect">
            <a:avLst/>
          </a:prstGeom>
          <a:solidFill>
            <a:srgbClr val="7F7F7F">
              <a:alpha val="63922"/>
            </a:srgb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 anchor="ctr">
            <a:spAutoFit/>
          </a:bodyPr>
          <a:lstStyle/>
          <a:p>
            <a:pPr defTabSz="342684"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210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defTabSz="3426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Protección de Incendios</a:t>
            </a:r>
          </a:p>
          <a:p>
            <a:pPr defTabSz="342684" fontAlgn="base">
              <a:spcBef>
                <a:spcPct val="0"/>
              </a:spcBef>
              <a:spcAft>
                <a:spcPct val="0"/>
              </a:spcAft>
              <a:defRPr/>
            </a:pPr>
            <a:endParaRPr lang="es-CL" sz="2100" dirty="0">
              <a:solidFill>
                <a:prstClr val="white"/>
              </a:solidFill>
              <a:latin typeface="Calibri" panose="020F0502020204030204" pitchFamily="34" charset="0"/>
              <a:ea typeface="ＭＳ Ｐゴシック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075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anchor="ctr" anchorCtr="0" compatLnSpc="1">
            <a:prstTxWarp prst="textNoShape">
              <a:avLst/>
            </a:prstTxWarp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8A16543-A6B0-4F44-8424-C7ED2A83375F}"/>
              </a:ext>
            </a:extLst>
          </p:cNvPr>
          <p:cNvSpPr txBox="1"/>
          <p:nvPr/>
        </p:nvSpPr>
        <p:spPr>
          <a:xfrm>
            <a:off x="0" y="0"/>
            <a:ext cx="22653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000" b="1" dirty="0">
                <a:solidFill>
                  <a:srgbClr val="EA7600"/>
                </a:solidFill>
                <a:latin typeface="Lato" panose="020F0502020204030203" pitchFamily="34" charset="0"/>
              </a:rPr>
              <a:t>Incendios en Chile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EE7AA02C-AE0B-4A06-A11C-AF117C73FBF2}"/>
              </a:ext>
            </a:extLst>
          </p:cNvPr>
          <p:cNvSpPr txBox="1"/>
          <p:nvPr/>
        </p:nvSpPr>
        <p:spPr>
          <a:xfrm>
            <a:off x="297548" y="854884"/>
            <a:ext cx="5168054" cy="24191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eaLnBrk="1">
              <a:lnSpc>
                <a:spcPct val="90000"/>
              </a:lnSpc>
              <a:buSzPct val="100000"/>
              <a:buFont typeface="Arial" panose="020B0604020202020204" pitchFamily="34" charset="0"/>
              <a:buChar char="•"/>
            </a:pPr>
            <a:r>
              <a:rPr lang="es-CL" altLang="es-CL" sz="1400" dirty="0">
                <a:solidFill>
                  <a:srgbClr val="696158"/>
                </a:solidFill>
                <a:latin typeface="Lato" panose="020F0502020204030203" pitchFamily="34" charset="0"/>
              </a:rPr>
              <a:t>En promedio son </a:t>
            </a:r>
            <a:r>
              <a:rPr lang="es-CL" altLang="es-CL" sz="1400" dirty="0">
                <a:solidFill>
                  <a:srgbClr val="FF5050"/>
                </a:solidFill>
                <a:latin typeface="Lato" panose="020F0502020204030203" pitchFamily="34" charset="0"/>
              </a:rPr>
              <a:t>6.000</a:t>
            </a:r>
            <a:r>
              <a:rPr lang="es-CL" altLang="es-CL" sz="1400" dirty="0">
                <a:solidFill>
                  <a:srgbClr val="696158"/>
                </a:solidFill>
                <a:latin typeface="Lato" panose="020F0502020204030203" pitchFamily="34" charset="0"/>
              </a:rPr>
              <a:t> incendios por temporada y unas </a:t>
            </a:r>
            <a:r>
              <a:rPr lang="es-CL" altLang="es-CL" sz="1400" dirty="0">
                <a:solidFill>
                  <a:srgbClr val="FF5050"/>
                </a:solidFill>
                <a:latin typeface="Lato" panose="020F0502020204030203" pitchFamily="34" charset="0"/>
              </a:rPr>
              <a:t>60.000</a:t>
            </a:r>
            <a:r>
              <a:rPr lang="es-CL" altLang="es-CL" sz="1400" dirty="0">
                <a:solidFill>
                  <a:srgbClr val="696158"/>
                </a:solidFill>
                <a:latin typeface="Lato" panose="020F0502020204030203" pitchFamily="34" charset="0"/>
              </a:rPr>
              <a:t>has afectadas totales.</a:t>
            </a:r>
          </a:p>
          <a:p>
            <a:pPr marL="285750" indent="-285750" eaLnBrk="1">
              <a:lnSpc>
                <a:spcPct val="90000"/>
              </a:lnSpc>
              <a:buSzPct val="100000"/>
              <a:buFont typeface="Arial" panose="020B0604020202020204" pitchFamily="34" charset="0"/>
              <a:buChar char="•"/>
            </a:pPr>
            <a:endParaRPr lang="es-CL" altLang="es-CL" sz="14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pPr marL="285750" indent="-285750" eaLnBrk="1">
              <a:lnSpc>
                <a:spcPct val="90000"/>
              </a:lnSpc>
              <a:buSzPct val="100000"/>
              <a:buFont typeface="Arial" panose="020B0604020202020204" pitchFamily="34" charset="0"/>
              <a:buChar char="•"/>
            </a:pPr>
            <a:r>
              <a:rPr lang="es-CL" altLang="es-CL" sz="1400" dirty="0">
                <a:solidFill>
                  <a:srgbClr val="696158"/>
                </a:solidFill>
                <a:latin typeface="Lato" panose="020F0502020204030203" pitchFamily="34" charset="0"/>
              </a:rPr>
              <a:t>El </a:t>
            </a:r>
            <a:r>
              <a:rPr lang="es-CL" altLang="es-CL" sz="1400" b="1" dirty="0">
                <a:solidFill>
                  <a:srgbClr val="FB821E"/>
                </a:solidFill>
                <a:latin typeface="Lato" panose="020F0502020204030203" pitchFamily="34" charset="0"/>
              </a:rPr>
              <a:t>99,8%</a:t>
            </a:r>
            <a:r>
              <a:rPr lang="es-CL" altLang="es-CL" sz="1400" dirty="0">
                <a:solidFill>
                  <a:srgbClr val="696158"/>
                </a:solidFill>
                <a:latin typeface="Lato" panose="020F0502020204030203" pitchFamily="34" charset="0"/>
              </a:rPr>
              <a:t> de los incendios es causado por la acción del hombre, intencional o por descuidos. </a:t>
            </a:r>
          </a:p>
          <a:p>
            <a:pPr eaLnBrk="1">
              <a:lnSpc>
                <a:spcPct val="90000"/>
              </a:lnSpc>
              <a:buSzPct val="100000"/>
            </a:pPr>
            <a:endParaRPr lang="es-CL" altLang="es-CL" sz="14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pPr marL="285750" indent="-285750" eaLnBrk="1">
              <a:lnSpc>
                <a:spcPct val="90000"/>
              </a:lnSpc>
              <a:buSzPct val="100000"/>
              <a:buFont typeface="Arial" panose="020B0604020202020204" pitchFamily="34" charset="0"/>
              <a:buChar char="•"/>
            </a:pPr>
            <a:endParaRPr lang="es-CL" altLang="es-CL" sz="14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pPr marL="285750" indent="-285750" eaLnBrk="1">
              <a:lnSpc>
                <a:spcPct val="90000"/>
              </a:lnSpc>
              <a:buSzPct val="100000"/>
              <a:buFont typeface="Arial" panose="020B0604020202020204" pitchFamily="34" charset="0"/>
              <a:buChar char="•"/>
            </a:pPr>
            <a:r>
              <a:rPr lang="es-CL" altLang="es-CL" sz="1400" b="0" dirty="0">
                <a:solidFill>
                  <a:srgbClr val="696158"/>
                </a:solidFill>
                <a:latin typeface="Lato" panose="020F0502020204030203" pitchFamily="34" charset="0"/>
              </a:rPr>
              <a:t>2023… </a:t>
            </a:r>
            <a:r>
              <a:rPr lang="es-CL" altLang="es-CL" sz="1400" b="0" dirty="0">
                <a:solidFill>
                  <a:srgbClr val="FF5050"/>
                </a:solidFill>
                <a:latin typeface="Lato" panose="020F0502020204030203" pitchFamily="34" charset="0"/>
              </a:rPr>
              <a:t>6.947</a:t>
            </a:r>
            <a:r>
              <a:rPr lang="es-CL" altLang="es-CL" sz="1400" b="0" dirty="0">
                <a:solidFill>
                  <a:srgbClr val="696158"/>
                </a:solidFill>
                <a:latin typeface="Lato" panose="020F0502020204030203" pitchFamily="34" charset="0"/>
              </a:rPr>
              <a:t> incendios con </a:t>
            </a:r>
            <a:r>
              <a:rPr lang="es-CL" altLang="es-CL" sz="1400" b="0" dirty="0">
                <a:solidFill>
                  <a:srgbClr val="FF5050"/>
                </a:solidFill>
                <a:latin typeface="Lato" panose="020F0502020204030203" pitchFamily="34" charset="0"/>
              </a:rPr>
              <a:t>426.387 </a:t>
            </a:r>
            <a:r>
              <a:rPr lang="es-CL" altLang="es-CL" sz="1400" b="0" dirty="0">
                <a:solidFill>
                  <a:srgbClr val="696158"/>
                </a:solidFill>
                <a:latin typeface="Lato" panose="020F0502020204030203" pitchFamily="34" charset="0"/>
              </a:rPr>
              <a:t>has Afectadas </a:t>
            </a:r>
          </a:p>
          <a:p>
            <a:pPr eaLnBrk="1">
              <a:lnSpc>
                <a:spcPct val="90000"/>
              </a:lnSpc>
              <a:buSzPct val="100000"/>
            </a:pPr>
            <a:endParaRPr lang="es-CL" altLang="es-CL" sz="1400" b="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pPr marL="285750" indent="-285750" eaLnBrk="1">
              <a:lnSpc>
                <a:spcPct val="90000"/>
              </a:lnSpc>
              <a:buSzPct val="100000"/>
              <a:buFont typeface="Arial" panose="020B0604020202020204" pitchFamily="34" charset="0"/>
              <a:buChar char="•"/>
            </a:pPr>
            <a:r>
              <a:rPr lang="es-CL" altLang="es-CL" sz="1400" b="0" dirty="0">
                <a:solidFill>
                  <a:srgbClr val="696158"/>
                </a:solidFill>
                <a:latin typeface="Lato" panose="020F0502020204030203" pitchFamily="34" charset="0"/>
              </a:rPr>
              <a:t>Históricamente, en cada temporada el </a:t>
            </a:r>
            <a:r>
              <a:rPr lang="es-CL" altLang="es-CL" sz="1400" b="0" dirty="0">
                <a:solidFill>
                  <a:srgbClr val="EA7600"/>
                </a:solidFill>
                <a:latin typeface="Lato" panose="020F0502020204030203" pitchFamily="34" charset="0"/>
              </a:rPr>
              <a:t>70%</a:t>
            </a:r>
            <a:r>
              <a:rPr lang="es-CL" altLang="es-CL" sz="1400" b="0" dirty="0">
                <a:solidFill>
                  <a:srgbClr val="696158"/>
                </a:solidFill>
                <a:latin typeface="Lato" panose="020F0502020204030203" pitchFamily="34" charset="0"/>
              </a:rPr>
              <a:t> de las superficies afectadas ha correspondido a </a:t>
            </a:r>
            <a:r>
              <a:rPr lang="es-CL" altLang="es-CL" sz="1400" b="0" dirty="0">
                <a:solidFill>
                  <a:srgbClr val="EA7600"/>
                </a:solidFill>
                <a:latin typeface="Lato" panose="020F0502020204030203" pitchFamily="34" charset="0"/>
              </a:rPr>
              <a:t>bosque nativo y pastizales</a:t>
            </a:r>
            <a:r>
              <a:rPr lang="es-CL" altLang="es-CL" sz="1400" b="0" dirty="0">
                <a:solidFill>
                  <a:srgbClr val="696158"/>
                </a:solidFill>
                <a:latin typeface="Lato" panose="020F0502020204030203" pitchFamily="34" charset="0"/>
              </a:rPr>
              <a:t>. 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D31285E-EDAC-4D32-906B-B7699A9854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7509" y="4896608"/>
            <a:ext cx="945664" cy="247334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DE7F2F4-80EB-4FAC-A7B6-4848E8F4A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5602" y="442"/>
            <a:ext cx="3678398" cy="5143500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139D32CD-DE04-4F42-A0F3-3A1B458D3417}"/>
              </a:ext>
            </a:extLst>
          </p:cNvPr>
          <p:cNvSpPr txBox="1"/>
          <p:nvPr/>
        </p:nvSpPr>
        <p:spPr>
          <a:xfrm>
            <a:off x="0" y="4874194"/>
            <a:ext cx="460248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altLang="es-CL" sz="1100" b="0" i="1" dirty="0">
                <a:solidFill>
                  <a:srgbClr val="696158"/>
                </a:solidFill>
                <a:latin typeface="Lato" panose="020F0502020204030203" pitchFamily="34" charset="0"/>
              </a:rPr>
              <a:t>Fuente: Conaf.cl</a:t>
            </a:r>
            <a:endParaRPr lang="es-CL" altLang="es-CL" sz="1400" b="0" i="1" dirty="0">
              <a:solidFill>
                <a:srgbClr val="696158"/>
              </a:solidFill>
              <a:latin typeface="Lato" panose="020F0502020204030203" pitchFamily="34" charset="0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A0B5160C-183E-45FE-B124-7A4D41C739E0}"/>
              </a:ext>
            </a:extLst>
          </p:cNvPr>
          <p:cNvSpPr txBox="1"/>
          <p:nvPr/>
        </p:nvSpPr>
        <p:spPr>
          <a:xfrm>
            <a:off x="7876378" y="4874194"/>
            <a:ext cx="118634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CL" altLang="es-CL" sz="900" i="1" dirty="0">
                <a:solidFill>
                  <a:srgbClr val="696158"/>
                </a:solidFill>
                <a:latin typeface="Lato" panose="020F0502020204030203" pitchFamily="34" charset="0"/>
              </a:rPr>
              <a:t>Foto: </a:t>
            </a:r>
            <a:r>
              <a:rPr lang="es-CL" altLang="es-CL" sz="900" b="0" i="1" dirty="0">
                <a:solidFill>
                  <a:srgbClr val="696158"/>
                </a:solidFill>
                <a:latin typeface="Lato" panose="020F0502020204030203" pitchFamily="34" charset="0"/>
              </a:rPr>
              <a:t>Agencia uno</a:t>
            </a:r>
            <a:endParaRPr lang="es-CL" altLang="es-CL" sz="1050" b="0" i="1" dirty="0">
              <a:solidFill>
                <a:srgbClr val="696158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354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anchor="ctr" anchorCtr="0" compatLnSpc="1">
            <a:prstTxWarp prst="textNoShape">
              <a:avLst/>
            </a:prstTxWarp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8A16543-A6B0-4F44-8424-C7ED2A83375F}"/>
              </a:ext>
            </a:extLst>
          </p:cNvPr>
          <p:cNvSpPr txBox="1"/>
          <p:nvPr/>
        </p:nvSpPr>
        <p:spPr>
          <a:xfrm>
            <a:off x="0" y="0"/>
            <a:ext cx="291618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000" b="1" dirty="0">
                <a:solidFill>
                  <a:srgbClr val="EA7600"/>
                </a:solidFill>
                <a:latin typeface="Lato" panose="020F0502020204030203" pitchFamily="34" charset="0"/>
              </a:rPr>
              <a:t>Protección de incendios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D31285E-EDAC-4D32-906B-B7699A9854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9722" y="4882072"/>
            <a:ext cx="945664" cy="247334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2DB11128-152E-49DD-9C45-2EEE847E27FD}"/>
              </a:ext>
            </a:extLst>
          </p:cNvPr>
          <p:cNvSpPr txBox="1"/>
          <p:nvPr/>
        </p:nvSpPr>
        <p:spPr>
          <a:xfrm>
            <a:off x="7876378" y="4874194"/>
            <a:ext cx="118634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CL" altLang="es-CL" sz="900" i="1" dirty="0">
                <a:solidFill>
                  <a:schemeClr val="bg1"/>
                </a:solidFill>
                <a:latin typeface="Lato" panose="020F0502020204030203" pitchFamily="34" charset="0"/>
              </a:rPr>
              <a:t>Foto: </a:t>
            </a:r>
            <a:r>
              <a:rPr lang="es-CL" altLang="es-CL" sz="900" b="0" i="1" dirty="0">
                <a:solidFill>
                  <a:schemeClr val="bg1"/>
                </a:solidFill>
                <a:latin typeface="Lato" panose="020F0502020204030203" pitchFamily="34" charset="0"/>
              </a:rPr>
              <a:t>CORMA</a:t>
            </a:r>
            <a:endParaRPr lang="es-CL" altLang="es-CL" sz="1050" b="0" i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  <p:graphicFrame>
        <p:nvGraphicFramePr>
          <p:cNvPr id="2" name="Diagrama 1">
            <a:extLst>
              <a:ext uri="{FF2B5EF4-FFF2-40B4-BE49-F238E27FC236}">
                <a16:creationId xmlns:a16="http://schemas.microsoft.com/office/drawing/2014/main" id="{B9FFE3F2-B949-46EE-A3A8-600D2E8216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89810840"/>
              </p:ext>
            </p:extLst>
          </p:nvPr>
        </p:nvGraphicFramePr>
        <p:xfrm>
          <a:off x="-250614" y="54694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FECD24E8-14DF-4F9F-B1AD-7548199986E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94424" y="0"/>
            <a:ext cx="3249576" cy="5143500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B5D33D29-4808-418A-A66C-BA628E006885}"/>
              </a:ext>
            </a:extLst>
          </p:cNvPr>
          <p:cNvSpPr txBox="1"/>
          <p:nvPr/>
        </p:nvSpPr>
        <p:spPr>
          <a:xfrm>
            <a:off x="8006696" y="4931905"/>
            <a:ext cx="1186342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s-CL" altLang="es-CL" sz="900" i="1" dirty="0">
                <a:solidFill>
                  <a:schemeClr val="bg1"/>
                </a:solidFill>
                <a:latin typeface="Lato" panose="020F0502020204030203" pitchFamily="34" charset="0"/>
              </a:rPr>
              <a:t>Foto: soychile.cl</a:t>
            </a:r>
            <a:endParaRPr lang="es-CL" altLang="es-CL" sz="1050" b="0" i="1" dirty="0">
              <a:solidFill>
                <a:schemeClr val="bg1"/>
              </a:solidFill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4196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anchor="ctr" anchorCtr="0" compatLnSpc="1">
            <a:prstTxWarp prst="textNoShape">
              <a:avLst/>
            </a:prstTxWarp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8A16543-A6B0-4F44-8424-C7ED2A83375F}"/>
              </a:ext>
            </a:extLst>
          </p:cNvPr>
          <p:cNvSpPr txBox="1"/>
          <p:nvPr/>
        </p:nvSpPr>
        <p:spPr>
          <a:xfrm>
            <a:off x="0" y="0"/>
            <a:ext cx="38202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000" b="1" dirty="0">
                <a:solidFill>
                  <a:srgbClr val="EA7600"/>
                </a:solidFill>
                <a:latin typeface="Lato" panose="020F0502020204030203" pitchFamily="34" charset="0"/>
              </a:rPr>
              <a:t>Programa de Protección Arauco</a:t>
            </a: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F4397EE6-F75A-4E51-8B8E-E034DF1E1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7467232"/>
              </p:ext>
            </p:extLst>
          </p:nvPr>
        </p:nvGraphicFramePr>
        <p:xfrm>
          <a:off x="81281" y="400110"/>
          <a:ext cx="8981440" cy="45116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Imagen 2">
            <a:extLst>
              <a:ext uri="{FF2B5EF4-FFF2-40B4-BE49-F238E27FC236}">
                <a16:creationId xmlns:a16="http://schemas.microsoft.com/office/drawing/2014/main" id="{A67967B2-E938-4DE1-970F-C3B0D9CEF5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49871" y="4363199"/>
            <a:ext cx="452342" cy="449752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17" name="Imagen 16" descr="Imagen que contiene Icono&#10;&#10;Descripción generada automáticamente">
            <a:extLst>
              <a:ext uri="{FF2B5EF4-FFF2-40B4-BE49-F238E27FC236}">
                <a16:creationId xmlns:a16="http://schemas.microsoft.com/office/drawing/2014/main" id="{BE01F822-C882-499C-94EF-5789394175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74845" y="3323276"/>
            <a:ext cx="724474" cy="222698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78A2ACD7-6B7D-42B7-9C32-484A20A1D33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75689" y="2810360"/>
            <a:ext cx="423630" cy="123688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A59BF9D2-1998-49CF-A6EE-18EA5D8F34C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79256" y="3323276"/>
            <a:ext cx="797091" cy="309516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D31285E-EDAC-4D32-906B-B7699A98548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7175" y="3279141"/>
            <a:ext cx="945664" cy="247334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BDD297AA-0DF7-4646-BE1C-74B5D8796C4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67175" y="4358592"/>
            <a:ext cx="945664" cy="320894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0308139D-FF2A-4425-99E5-E25DA3A13B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492926" y="2735955"/>
            <a:ext cx="565192" cy="226967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AEE39606-589D-4C1F-8C7C-34DDD13787B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98131" y="3411059"/>
            <a:ext cx="778354" cy="230832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85B874E0-E0BF-45A6-B60E-31974D9E4E9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36511" y="4379502"/>
            <a:ext cx="547421" cy="384798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11265" name="Imagen 11264">
            <a:extLst>
              <a:ext uri="{FF2B5EF4-FFF2-40B4-BE49-F238E27FC236}">
                <a16:creationId xmlns:a16="http://schemas.microsoft.com/office/drawing/2014/main" id="{50949B62-0942-4851-BEBC-A2F7318EBAD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82335" y="3826838"/>
            <a:ext cx="958961" cy="173580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11271" name="Imagen 11270">
            <a:extLst>
              <a:ext uri="{FF2B5EF4-FFF2-40B4-BE49-F238E27FC236}">
                <a16:creationId xmlns:a16="http://schemas.microsoft.com/office/drawing/2014/main" id="{88C6ABEE-0EF0-44F5-843A-6102EC75095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481143" y="4496963"/>
            <a:ext cx="565192" cy="197160"/>
          </a:xfrm>
          <a:prstGeom prst="rect">
            <a:avLst/>
          </a:prstGeom>
          <a:ln>
            <a:solidFill>
              <a:srgbClr val="696158"/>
            </a:solidFill>
          </a:ln>
        </p:spPr>
      </p:pic>
      <p:sp>
        <p:nvSpPr>
          <p:cNvPr id="42" name="CuadroTexto 41">
            <a:extLst>
              <a:ext uri="{FF2B5EF4-FFF2-40B4-BE49-F238E27FC236}">
                <a16:creationId xmlns:a16="http://schemas.microsoft.com/office/drawing/2014/main" id="{A258E5E7-36B0-4AC4-8C07-BD1F2E385010}"/>
              </a:ext>
            </a:extLst>
          </p:cNvPr>
          <p:cNvSpPr txBox="1"/>
          <p:nvPr/>
        </p:nvSpPr>
        <p:spPr>
          <a:xfrm>
            <a:off x="2274384" y="4472659"/>
            <a:ext cx="429926" cy="230832"/>
          </a:xfrm>
          <a:prstGeom prst="rect">
            <a:avLst/>
          </a:prstGeom>
          <a:solidFill>
            <a:schemeClr val="bg1"/>
          </a:solidFill>
          <a:ln>
            <a:solidFill>
              <a:srgbClr val="696158"/>
            </a:solidFill>
          </a:ln>
        </p:spPr>
        <p:txBody>
          <a:bodyPr wrap="none" rtlCol="0">
            <a:spAutoFit/>
          </a:bodyPr>
          <a:lstStyle/>
          <a:p>
            <a:r>
              <a:rPr lang="es-CL" sz="900" dirty="0"/>
              <a:t>LEAN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0B01B1A3-FA77-4CAD-B8B2-487D1B83C9AD}"/>
              </a:ext>
            </a:extLst>
          </p:cNvPr>
          <p:cNvSpPr txBox="1"/>
          <p:nvPr/>
        </p:nvSpPr>
        <p:spPr>
          <a:xfrm>
            <a:off x="2915957" y="4456485"/>
            <a:ext cx="763351" cy="230832"/>
          </a:xfrm>
          <a:prstGeom prst="rect">
            <a:avLst/>
          </a:prstGeom>
          <a:solidFill>
            <a:schemeClr val="bg1"/>
          </a:solidFill>
          <a:ln>
            <a:solidFill>
              <a:srgbClr val="696158"/>
            </a:solidFill>
          </a:ln>
        </p:spPr>
        <p:txBody>
          <a:bodyPr wrap="none" rtlCol="0">
            <a:spAutoFit/>
          </a:bodyPr>
          <a:lstStyle/>
          <a:p>
            <a:r>
              <a:rPr lang="es-CL" sz="900" b="1" dirty="0"/>
              <a:t>CONVENIOS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CB050DF0-5A16-4361-99AD-E7FE61553ABE}"/>
              </a:ext>
            </a:extLst>
          </p:cNvPr>
          <p:cNvSpPr txBox="1"/>
          <p:nvPr/>
        </p:nvSpPr>
        <p:spPr>
          <a:xfrm>
            <a:off x="468014" y="4441028"/>
            <a:ext cx="652743" cy="230832"/>
          </a:xfrm>
          <a:prstGeom prst="rect">
            <a:avLst/>
          </a:prstGeom>
          <a:solidFill>
            <a:schemeClr val="bg1"/>
          </a:solidFill>
          <a:ln>
            <a:solidFill>
              <a:srgbClr val="696158"/>
            </a:solidFill>
          </a:ln>
        </p:spPr>
        <p:txBody>
          <a:bodyPr wrap="none" rtlCol="0">
            <a:spAutoFit/>
          </a:bodyPr>
          <a:lstStyle/>
          <a:p>
            <a:r>
              <a:rPr lang="es-CL" sz="900" dirty="0"/>
              <a:t>ESCUELAS</a:t>
            </a: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D79BFB36-7FA6-4211-8FBE-814558834CB1}"/>
              </a:ext>
            </a:extLst>
          </p:cNvPr>
          <p:cNvSpPr txBox="1"/>
          <p:nvPr/>
        </p:nvSpPr>
        <p:spPr>
          <a:xfrm>
            <a:off x="364353" y="3387184"/>
            <a:ext cx="893193" cy="230832"/>
          </a:xfrm>
          <a:prstGeom prst="rect">
            <a:avLst/>
          </a:prstGeom>
          <a:solidFill>
            <a:schemeClr val="bg1"/>
          </a:solidFill>
          <a:ln>
            <a:solidFill>
              <a:srgbClr val="696158"/>
            </a:solidFill>
          </a:ln>
        </p:spPr>
        <p:txBody>
          <a:bodyPr wrap="none" rtlCol="0">
            <a:spAutoFit/>
          </a:bodyPr>
          <a:lstStyle/>
          <a:p>
            <a:r>
              <a:rPr lang="es-CL" sz="900" dirty="0"/>
              <a:t>CORTAFUEGOS</a:t>
            </a: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047A5142-BD16-4BAD-89F1-240A8033327D}"/>
              </a:ext>
            </a:extLst>
          </p:cNvPr>
          <p:cNvSpPr txBox="1"/>
          <p:nvPr/>
        </p:nvSpPr>
        <p:spPr>
          <a:xfrm>
            <a:off x="1279416" y="3377530"/>
            <a:ext cx="859531" cy="230832"/>
          </a:xfrm>
          <a:prstGeom prst="rect">
            <a:avLst/>
          </a:prstGeom>
          <a:solidFill>
            <a:schemeClr val="bg1"/>
          </a:solidFill>
          <a:ln>
            <a:solidFill>
              <a:srgbClr val="696158"/>
            </a:solidFill>
          </a:ln>
        </p:spPr>
        <p:txBody>
          <a:bodyPr wrap="none" rtlCol="0">
            <a:spAutoFit/>
          </a:bodyPr>
          <a:lstStyle/>
          <a:p>
            <a:r>
              <a:rPr lang="es-CL" sz="900" dirty="0"/>
              <a:t>ESTRUCTURAS</a:t>
            </a:r>
          </a:p>
        </p:txBody>
      </p:sp>
      <p:pic>
        <p:nvPicPr>
          <p:cNvPr id="30" name="Imagen 29">
            <a:extLst>
              <a:ext uri="{FF2B5EF4-FFF2-40B4-BE49-F238E27FC236}">
                <a16:creationId xmlns:a16="http://schemas.microsoft.com/office/drawing/2014/main" id="{28772240-4294-4CEB-876A-90B2B9F28F4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751" y="17836"/>
            <a:ext cx="1406249" cy="367798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CA1A991C-839B-6FA4-4BE4-7732BB3836F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173276" y="4372711"/>
            <a:ext cx="547421" cy="401935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23F4EE20-48E1-0888-884F-C71AFE7E493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573569" y="2679696"/>
            <a:ext cx="423630" cy="318372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ABFF911B-7184-E4C4-0613-1FDF66B951D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000749" y="4807613"/>
            <a:ext cx="922473" cy="2083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id="{01EC8770-CEFA-DB32-D2D7-648969D82432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077852" y="4720948"/>
            <a:ext cx="364681" cy="356517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A81DF518-0408-85B7-EFAF-243C0CEA03A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670537" y="400110"/>
            <a:ext cx="2399066" cy="1114783"/>
          </a:xfrm>
          <a:prstGeom prst="rect">
            <a:avLst/>
          </a:prstGeom>
          <a:ln>
            <a:solidFill>
              <a:srgbClr val="696158"/>
            </a:solidFill>
          </a:ln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C27EC8D1-6372-118C-1D94-137DF922B60B}"/>
              </a:ext>
            </a:extLst>
          </p:cNvPr>
          <p:cNvSpPr txBox="1"/>
          <p:nvPr/>
        </p:nvSpPr>
        <p:spPr>
          <a:xfrm>
            <a:off x="817950" y="555425"/>
            <a:ext cx="1831419" cy="900246"/>
          </a:xfrm>
          <a:prstGeom prst="rect">
            <a:avLst/>
          </a:prstGeom>
          <a:noFill/>
          <a:ln>
            <a:solidFill>
              <a:srgbClr val="69615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L" sz="1050" b="1" dirty="0">
                <a:solidFill>
                  <a:srgbClr val="696158"/>
                </a:solidFill>
                <a:latin typeface="Lato" panose="020F0502020204030203" pitchFamily="34" charset="0"/>
              </a:rPr>
              <a:t>Recursos de Combate</a:t>
            </a:r>
          </a:p>
          <a:p>
            <a:pPr algn="ctr"/>
            <a:endParaRPr lang="es-CL" sz="1050" b="1" dirty="0">
              <a:solidFill>
                <a:srgbClr val="EA7600"/>
              </a:solidFill>
              <a:latin typeface="Lato" panose="020F0502020204030203" pitchFamily="34" charset="0"/>
            </a:endParaRPr>
          </a:p>
          <a:p>
            <a:r>
              <a:rPr lang="es-CL" sz="1050" b="1" dirty="0">
                <a:solidFill>
                  <a:schemeClr val="tx1">
                    <a:lumMod val="95000"/>
                    <a:lumOff val="5000"/>
                  </a:schemeClr>
                </a:solidFill>
                <a:latin typeface="Lato" panose="020F0502020204030203" pitchFamily="34" charset="0"/>
              </a:rPr>
              <a:t>36</a:t>
            </a:r>
            <a:r>
              <a:rPr lang="es-CL" sz="1050" b="1" dirty="0">
                <a:solidFill>
                  <a:srgbClr val="EA7600"/>
                </a:solidFill>
                <a:latin typeface="Lato" panose="020F0502020204030203" pitchFamily="34" charset="0"/>
              </a:rPr>
              <a:t> Recursos Aéreos</a:t>
            </a:r>
          </a:p>
          <a:p>
            <a:r>
              <a:rPr lang="es-CL" sz="1050" b="1" dirty="0">
                <a:solidFill>
                  <a:schemeClr val="tx1">
                    <a:lumMod val="95000"/>
                    <a:lumOff val="5000"/>
                  </a:schemeClr>
                </a:solidFill>
                <a:latin typeface="Lato" panose="020F0502020204030203" pitchFamily="34" charset="0"/>
              </a:rPr>
              <a:t>124</a:t>
            </a:r>
            <a:r>
              <a:rPr lang="es-CL" sz="1050" b="1" dirty="0">
                <a:solidFill>
                  <a:srgbClr val="EA7600"/>
                </a:solidFill>
                <a:latin typeface="Lato" panose="020F0502020204030203" pitchFamily="34" charset="0"/>
              </a:rPr>
              <a:t> Brigadas Profesionales</a:t>
            </a:r>
          </a:p>
          <a:p>
            <a:r>
              <a:rPr lang="es-CL" sz="1050" b="1" dirty="0">
                <a:solidFill>
                  <a:schemeClr val="tx1">
                    <a:lumMod val="95000"/>
                    <a:lumOff val="5000"/>
                  </a:schemeClr>
                </a:solidFill>
                <a:latin typeface="Lato" panose="020F0502020204030203" pitchFamily="34" charset="0"/>
              </a:rPr>
              <a:t>160</a:t>
            </a:r>
            <a:r>
              <a:rPr lang="es-CL" sz="1050" b="1" dirty="0">
                <a:solidFill>
                  <a:srgbClr val="EA7600"/>
                </a:solidFill>
                <a:latin typeface="Lato" panose="020F0502020204030203" pitchFamily="34" charset="0"/>
              </a:rPr>
              <a:t> Puntos de Detección</a:t>
            </a:r>
          </a:p>
        </p:txBody>
      </p:sp>
    </p:spTree>
    <p:extLst>
      <p:ext uri="{BB962C8B-B14F-4D97-AF65-F5344CB8AC3E}">
        <p14:creationId xmlns:p14="http://schemas.microsoft.com/office/powerpoint/2010/main" val="4189306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ítulo 1">
            <a:extLst>
              <a:ext uri="{FF2B5EF4-FFF2-40B4-BE49-F238E27FC236}">
                <a16:creationId xmlns:a16="http://schemas.microsoft.com/office/drawing/2014/main" id="{EC060B5A-3A2B-4C3E-BEED-928CC4BC0C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058" y="3986254"/>
            <a:ext cx="7570548" cy="1343025"/>
          </a:xfrm>
        </p:spPr>
        <p:txBody>
          <a:bodyPr/>
          <a:lstStyle/>
          <a:p>
            <a:r>
              <a:rPr lang="es-C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pacho</a:t>
            </a:r>
          </a:p>
          <a:p>
            <a:r>
              <a:rPr lang="es-CL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signación de Recursos</a:t>
            </a:r>
          </a:p>
        </p:txBody>
      </p:sp>
    </p:spTree>
    <p:extLst>
      <p:ext uri="{BB962C8B-B14F-4D97-AF65-F5344CB8AC3E}">
        <p14:creationId xmlns:p14="http://schemas.microsoft.com/office/powerpoint/2010/main" val="40017235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68537" tIns="34268" rIns="68537" bIns="34268" numCol="1" anchor="ctr" anchorCtr="0" compatLnSpc="1">
            <a:prstTxWarp prst="textNoShape">
              <a:avLst/>
            </a:prstTxWarp>
          </a:bodyPr>
          <a:lstStyle/>
          <a:p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br>
              <a:rPr lang="es-CL" b="1" dirty="0">
                <a:solidFill>
                  <a:srgbClr val="696158"/>
                </a:solidFill>
                <a:cs typeface="Calibri" pitchFamily="34" charset="0"/>
              </a:rPr>
            </a:br>
            <a:r>
              <a:rPr lang="es-CL" b="1" dirty="0">
                <a:solidFill>
                  <a:srgbClr val="696158"/>
                </a:solidFill>
                <a:cs typeface="Calibri" pitchFamily="34" charset="0"/>
              </a:rPr>
              <a:t>											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88A16543-A6B0-4F44-8424-C7ED2A83375F}"/>
              </a:ext>
            </a:extLst>
          </p:cNvPr>
          <p:cNvSpPr txBox="1"/>
          <p:nvPr/>
        </p:nvSpPr>
        <p:spPr>
          <a:xfrm>
            <a:off x="0" y="0"/>
            <a:ext cx="25523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2000" b="1" dirty="0">
                <a:solidFill>
                  <a:srgbClr val="EA7600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tapas del Despach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1C83BC4-E10D-4EA3-8C3A-14DC2F05E3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26070" y="1012552"/>
            <a:ext cx="922731" cy="763545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A7AFC050-01FC-416A-98E0-9EBE3801A8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81459" y="1012552"/>
            <a:ext cx="922731" cy="764282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8238B6B5-6A38-4B45-91E1-0CC279906B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579" y="1012552"/>
            <a:ext cx="691091" cy="770473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AFA5CDA4-94DC-4BFD-B88A-7B305459F4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4036848" y="1012552"/>
            <a:ext cx="1085831" cy="744855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3035797E-1716-4284-B7E8-BDBD341B17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5337" y="1012552"/>
            <a:ext cx="863507" cy="754322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82A8F09B-210D-4F66-B517-7AC7C3B4D0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1502" y="1012552"/>
            <a:ext cx="922731" cy="748673"/>
          </a:xfrm>
          <a:prstGeom prst="rect">
            <a:avLst/>
          </a:prstGeom>
          <a:ln>
            <a:solidFill>
              <a:srgbClr val="696158"/>
            </a:solidFill>
          </a:ln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612EC59D-C4DD-4724-82F9-26D174E3D7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64575" y="1014248"/>
            <a:ext cx="511291" cy="768777"/>
          </a:xfrm>
          <a:prstGeom prst="rect">
            <a:avLst/>
          </a:prstGeom>
          <a:ln>
            <a:solidFill>
              <a:srgbClr val="696158"/>
            </a:solidFill>
          </a:ln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id="{8F3EEB74-1A29-4F31-BF8F-1A0AB0CA88DC}"/>
              </a:ext>
            </a:extLst>
          </p:cNvPr>
          <p:cNvSpPr txBox="1"/>
          <p:nvPr/>
        </p:nvSpPr>
        <p:spPr>
          <a:xfrm>
            <a:off x="581579" y="636431"/>
            <a:ext cx="1202382" cy="246221"/>
          </a:xfrm>
          <a:prstGeom prst="rect">
            <a:avLst/>
          </a:prstGeom>
          <a:solidFill>
            <a:srgbClr val="696158"/>
          </a:solidFill>
          <a:ln>
            <a:solidFill>
              <a:srgbClr val="69615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latin typeface="Lato" panose="020F0502020204030203" pitchFamily="34" charset="0"/>
              </a:rPr>
              <a:t>Fuego Humo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E9B3F2DA-CEB3-417F-9EA2-FEFE9B036261}"/>
              </a:ext>
            </a:extLst>
          </p:cNvPr>
          <p:cNvSpPr txBox="1"/>
          <p:nvPr/>
        </p:nvSpPr>
        <p:spPr>
          <a:xfrm>
            <a:off x="1926070" y="636431"/>
            <a:ext cx="913289" cy="246221"/>
          </a:xfrm>
          <a:prstGeom prst="rect">
            <a:avLst/>
          </a:prstGeom>
          <a:solidFill>
            <a:srgbClr val="696158"/>
          </a:solidFill>
          <a:ln>
            <a:solidFill>
              <a:srgbClr val="69615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latin typeface="Lato" panose="020F0502020204030203" pitchFamily="34" charset="0"/>
              </a:rPr>
              <a:t>Detección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15A09E53-9B5C-47F6-A22E-8F1716C0778E}"/>
              </a:ext>
            </a:extLst>
          </p:cNvPr>
          <p:cNvSpPr txBox="1"/>
          <p:nvPr/>
        </p:nvSpPr>
        <p:spPr>
          <a:xfrm>
            <a:off x="2960462" y="636431"/>
            <a:ext cx="941298" cy="246221"/>
          </a:xfrm>
          <a:prstGeom prst="rect">
            <a:avLst/>
          </a:prstGeom>
          <a:solidFill>
            <a:srgbClr val="696158"/>
          </a:solidFill>
          <a:ln>
            <a:solidFill>
              <a:srgbClr val="69615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latin typeface="Lato" panose="020F0502020204030203" pitchFamily="34" charset="0"/>
              </a:rPr>
              <a:t>Despacho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1FEFB021-8C2F-4903-93A1-940441DFCDB8}"/>
              </a:ext>
            </a:extLst>
          </p:cNvPr>
          <p:cNvSpPr txBox="1"/>
          <p:nvPr/>
        </p:nvSpPr>
        <p:spPr>
          <a:xfrm>
            <a:off x="4036847" y="636431"/>
            <a:ext cx="1085831" cy="246221"/>
          </a:xfrm>
          <a:prstGeom prst="rect">
            <a:avLst/>
          </a:prstGeom>
          <a:solidFill>
            <a:srgbClr val="696158"/>
          </a:solidFill>
          <a:ln>
            <a:solidFill>
              <a:srgbClr val="69615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latin typeface="Lato" panose="020F0502020204030203" pitchFamily="34" charset="0"/>
              </a:rPr>
              <a:t>Salida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569B9582-943E-4C19-8E0E-FB7876EDA0FD}"/>
              </a:ext>
            </a:extLst>
          </p:cNvPr>
          <p:cNvSpPr txBox="1"/>
          <p:nvPr/>
        </p:nvSpPr>
        <p:spPr>
          <a:xfrm>
            <a:off x="5252770" y="636431"/>
            <a:ext cx="863507" cy="246221"/>
          </a:xfrm>
          <a:prstGeom prst="rect">
            <a:avLst/>
          </a:prstGeom>
          <a:solidFill>
            <a:srgbClr val="696158"/>
          </a:solidFill>
          <a:ln>
            <a:solidFill>
              <a:srgbClr val="69615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latin typeface="Lato" panose="020F0502020204030203" pitchFamily="34" charset="0"/>
              </a:rPr>
              <a:t>Ruta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FC07F1D8-167A-4BDC-AD42-3365C93A6CB6}"/>
              </a:ext>
            </a:extLst>
          </p:cNvPr>
          <p:cNvSpPr txBox="1"/>
          <p:nvPr/>
        </p:nvSpPr>
        <p:spPr>
          <a:xfrm>
            <a:off x="6246369" y="636431"/>
            <a:ext cx="923574" cy="246221"/>
          </a:xfrm>
          <a:prstGeom prst="rect">
            <a:avLst/>
          </a:prstGeom>
          <a:solidFill>
            <a:srgbClr val="696158"/>
          </a:solidFill>
          <a:ln>
            <a:solidFill>
              <a:srgbClr val="69615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L" sz="1000" b="1" dirty="0">
                <a:solidFill>
                  <a:schemeClr val="bg1"/>
                </a:solidFill>
                <a:latin typeface="Lato" panose="020F0502020204030203" pitchFamily="34" charset="0"/>
              </a:rPr>
              <a:t>Arribo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F96CD1A-2E1D-4653-A34B-EBB41C635E58}"/>
              </a:ext>
            </a:extLst>
          </p:cNvPr>
          <p:cNvSpPr txBox="1"/>
          <p:nvPr/>
        </p:nvSpPr>
        <p:spPr>
          <a:xfrm>
            <a:off x="581579" y="1918158"/>
            <a:ext cx="1202382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0 min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Ignición</a:t>
            </a:r>
          </a:p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Tiempo humo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DD581787-D636-4895-A219-AFB46945E6D2}"/>
              </a:ext>
            </a:extLst>
          </p:cNvPr>
          <p:cNvGrpSpPr/>
          <p:nvPr/>
        </p:nvGrpSpPr>
        <p:grpSpPr>
          <a:xfrm>
            <a:off x="7274145" y="566151"/>
            <a:ext cx="1173506" cy="367878"/>
            <a:chOff x="7022296" y="1226785"/>
            <a:chExt cx="1173506" cy="367878"/>
          </a:xfrm>
          <a:solidFill>
            <a:srgbClr val="696158"/>
          </a:solidFill>
        </p:grpSpPr>
        <p:sp>
          <p:nvSpPr>
            <p:cNvPr id="39" name="CuadroTexto 38">
              <a:extLst>
                <a:ext uri="{FF2B5EF4-FFF2-40B4-BE49-F238E27FC236}">
                  <a16:creationId xmlns:a16="http://schemas.microsoft.com/office/drawing/2014/main" id="{F0AA71CA-63D0-4DED-B28C-6AEA27D0879E}"/>
                </a:ext>
              </a:extLst>
            </p:cNvPr>
            <p:cNvSpPr txBox="1"/>
            <p:nvPr/>
          </p:nvSpPr>
          <p:spPr>
            <a:xfrm>
              <a:off x="7022296" y="1287613"/>
              <a:ext cx="923574" cy="246221"/>
            </a:xfrm>
            <a:prstGeom prst="rect">
              <a:avLst/>
            </a:prstGeom>
            <a:grpFill/>
            <a:ln>
              <a:solidFill>
                <a:srgbClr val="696158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CL" sz="1000" b="1" dirty="0">
                  <a:solidFill>
                    <a:schemeClr val="bg1"/>
                  </a:solidFill>
                  <a:latin typeface="Lato" panose="020F0502020204030203" pitchFamily="34" charset="0"/>
                </a:rPr>
                <a:t>Combate</a:t>
              </a:r>
            </a:p>
          </p:txBody>
        </p:sp>
        <p:sp>
          <p:nvSpPr>
            <p:cNvPr id="10" name="Triángulo isósceles 9">
              <a:extLst>
                <a:ext uri="{FF2B5EF4-FFF2-40B4-BE49-F238E27FC236}">
                  <a16:creationId xmlns:a16="http://schemas.microsoft.com/office/drawing/2014/main" id="{24BF94DB-5421-41BC-A7C4-00B862BD5B1E}"/>
                </a:ext>
              </a:extLst>
            </p:cNvPr>
            <p:cNvSpPr/>
            <p:nvPr/>
          </p:nvSpPr>
          <p:spPr>
            <a:xfrm rot="5400000">
              <a:off x="7888753" y="1287613"/>
              <a:ext cx="367878" cy="246221"/>
            </a:xfrm>
            <a:prstGeom prst="triangle">
              <a:avLst/>
            </a:prstGeom>
            <a:grpFill/>
            <a:ln>
              <a:solidFill>
                <a:srgbClr val="696158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14" name="Imagen 13">
            <a:extLst>
              <a:ext uri="{FF2B5EF4-FFF2-40B4-BE49-F238E27FC236}">
                <a16:creationId xmlns:a16="http://schemas.microsoft.com/office/drawing/2014/main" id="{C5216C38-0441-44F7-B62C-5A7FF4D5D7D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74144" y="1018512"/>
            <a:ext cx="922731" cy="738895"/>
          </a:xfrm>
          <a:prstGeom prst="rect">
            <a:avLst/>
          </a:prstGeom>
          <a:ln>
            <a:solidFill>
              <a:srgbClr val="696158"/>
            </a:solidFill>
          </a:ln>
        </p:spPr>
      </p:pic>
      <p:sp>
        <p:nvSpPr>
          <p:cNvPr id="40" name="CuadroTexto 39">
            <a:extLst>
              <a:ext uri="{FF2B5EF4-FFF2-40B4-BE49-F238E27FC236}">
                <a16:creationId xmlns:a16="http://schemas.microsoft.com/office/drawing/2014/main" id="{CE44B931-6764-4422-B242-3344DC26E478}"/>
              </a:ext>
            </a:extLst>
          </p:cNvPr>
          <p:cNvSpPr txBox="1"/>
          <p:nvPr/>
        </p:nvSpPr>
        <p:spPr>
          <a:xfrm>
            <a:off x="1926070" y="1918158"/>
            <a:ext cx="913289" cy="110799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2min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Cámara</a:t>
            </a:r>
          </a:p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Satélite</a:t>
            </a:r>
          </a:p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Teléfono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2D9FB3D3-4A3D-4609-99FE-2589A3EB5377}"/>
              </a:ext>
            </a:extLst>
          </p:cNvPr>
          <p:cNvSpPr txBox="1"/>
          <p:nvPr/>
        </p:nvSpPr>
        <p:spPr>
          <a:xfrm>
            <a:off x="2991759" y="1918158"/>
            <a:ext cx="913289" cy="110030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1min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r>
              <a:rPr lang="es-CL" sz="1050" dirty="0">
                <a:solidFill>
                  <a:srgbClr val="696158"/>
                </a:solidFill>
                <a:latin typeface="Lato" panose="020F0502020204030203" pitchFamily="34" charset="0"/>
              </a:rPr>
              <a:t>Localización</a:t>
            </a:r>
          </a:p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Evaluación</a:t>
            </a:r>
          </a:p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Asignación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F7076441-1FBA-4F94-847B-D6F35F046713}"/>
              </a:ext>
            </a:extLst>
          </p:cNvPr>
          <p:cNvSpPr txBox="1"/>
          <p:nvPr/>
        </p:nvSpPr>
        <p:spPr>
          <a:xfrm>
            <a:off x="4059158" y="1876615"/>
            <a:ext cx="1085831" cy="140807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4min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r>
              <a:rPr lang="es-CL" sz="1050" dirty="0">
                <a:solidFill>
                  <a:srgbClr val="696158"/>
                </a:solidFill>
                <a:latin typeface="Lato" panose="020F0502020204030203" pitchFamily="34" charset="0"/>
              </a:rPr>
              <a:t>Preparativos</a:t>
            </a:r>
          </a:p>
          <a:p>
            <a:r>
              <a:rPr lang="es-CL" sz="1050" dirty="0">
                <a:solidFill>
                  <a:srgbClr val="696158"/>
                </a:solidFill>
                <a:latin typeface="Lato" panose="020F0502020204030203" pitchFamily="34" charset="0"/>
              </a:rPr>
              <a:t>Chequeos</a:t>
            </a:r>
          </a:p>
          <a:p>
            <a:r>
              <a:rPr lang="es-CL" sz="1050" dirty="0">
                <a:solidFill>
                  <a:srgbClr val="696158"/>
                </a:solidFill>
                <a:latin typeface="Lato" panose="020F0502020204030203" pitchFamily="34" charset="0"/>
              </a:rPr>
              <a:t>Equipamiento</a:t>
            </a:r>
          </a:p>
          <a:p>
            <a:r>
              <a:rPr lang="es-CL" sz="1050" dirty="0">
                <a:solidFill>
                  <a:srgbClr val="696158"/>
                </a:solidFill>
                <a:latin typeface="Lato" panose="020F0502020204030203" pitchFamily="34" charset="0"/>
              </a:rPr>
              <a:t>Puesta en marcha</a:t>
            </a:r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4D5E70FA-0B6B-4740-9973-EADC8C7D64A6}"/>
              </a:ext>
            </a:extLst>
          </p:cNvPr>
          <p:cNvSpPr txBox="1"/>
          <p:nvPr/>
        </p:nvSpPr>
        <p:spPr>
          <a:xfrm>
            <a:off x="5213830" y="1918158"/>
            <a:ext cx="902447" cy="122341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20min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Mapas</a:t>
            </a: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GPS</a:t>
            </a: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AVL</a:t>
            </a: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Rutas</a:t>
            </a:r>
            <a:endParaRPr lang="es-CL" sz="105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734F7405-47DF-4EFC-B672-0E4EB13037AA}"/>
              </a:ext>
            </a:extLst>
          </p:cNvPr>
          <p:cNvSpPr txBox="1"/>
          <p:nvPr/>
        </p:nvSpPr>
        <p:spPr>
          <a:xfrm>
            <a:off x="6246369" y="1916700"/>
            <a:ext cx="927864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6min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Evaluación</a:t>
            </a:r>
          </a:p>
          <a:p>
            <a:r>
              <a:rPr lang="es-CL" sz="900" dirty="0">
                <a:solidFill>
                  <a:srgbClr val="696158"/>
                </a:solidFill>
                <a:latin typeface="Lato" panose="020F0502020204030203" pitchFamily="34" charset="0"/>
              </a:rPr>
              <a:t>Desembarque</a:t>
            </a: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Infantería</a:t>
            </a: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Accesos</a:t>
            </a:r>
            <a:endParaRPr lang="es-CL" sz="105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745823AD-0B88-4D16-A5D5-12F4F176918E}"/>
              </a:ext>
            </a:extLst>
          </p:cNvPr>
          <p:cNvSpPr txBox="1"/>
          <p:nvPr/>
        </p:nvSpPr>
        <p:spPr>
          <a:xfrm>
            <a:off x="7274144" y="1906432"/>
            <a:ext cx="927864" cy="91563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32 min</a:t>
            </a: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Combate</a:t>
            </a:r>
          </a:p>
          <a:p>
            <a:r>
              <a:rPr lang="es-CL" sz="1000" dirty="0">
                <a:solidFill>
                  <a:srgbClr val="696158"/>
                </a:solidFill>
                <a:latin typeface="Lato" panose="020F0502020204030203" pitchFamily="34" charset="0"/>
              </a:rPr>
              <a:t>Contención</a:t>
            </a:r>
            <a:endParaRPr lang="es-CL" sz="1050" dirty="0">
              <a:solidFill>
                <a:srgbClr val="696158"/>
              </a:solidFill>
              <a:latin typeface="Lato" panose="020F0502020204030203" pitchFamily="34" charset="0"/>
            </a:endParaRPr>
          </a:p>
          <a:p>
            <a:endParaRPr lang="es-CL" sz="1100" dirty="0">
              <a:solidFill>
                <a:srgbClr val="696158"/>
              </a:solidFill>
              <a:latin typeface="Lato" panose="020F0502020204030203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1226E8CB-F86D-499C-913C-D51378293353}"/>
              </a:ext>
            </a:extLst>
          </p:cNvPr>
          <p:cNvSpPr/>
          <p:nvPr/>
        </p:nvSpPr>
        <p:spPr>
          <a:xfrm>
            <a:off x="577201" y="1918157"/>
            <a:ext cx="1196469" cy="1198871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275B9067-7975-4402-AE7C-B14A50026CE4}"/>
              </a:ext>
            </a:extLst>
          </p:cNvPr>
          <p:cNvSpPr/>
          <p:nvPr/>
        </p:nvSpPr>
        <p:spPr>
          <a:xfrm>
            <a:off x="1896836" y="1918158"/>
            <a:ext cx="942523" cy="1198871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D76C5BD5-A69B-4278-9D87-3CB044FD35AB}"/>
              </a:ext>
            </a:extLst>
          </p:cNvPr>
          <p:cNvSpPr/>
          <p:nvPr/>
        </p:nvSpPr>
        <p:spPr>
          <a:xfrm>
            <a:off x="2984439" y="1916700"/>
            <a:ext cx="920609" cy="1198871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7489E6A3-BC1A-44E3-BF6F-0BCD3CA0F570}"/>
              </a:ext>
            </a:extLst>
          </p:cNvPr>
          <p:cNvSpPr/>
          <p:nvPr/>
        </p:nvSpPr>
        <p:spPr>
          <a:xfrm>
            <a:off x="4035140" y="1924866"/>
            <a:ext cx="1085831" cy="1198871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F5E3B739-F1AC-49CF-BDEA-F80906B6A789}"/>
              </a:ext>
            </a:extLst>
          </p:cNvPr>
          <p:cNvSpPr/>
          <p:nvPr/>
        </p:nvSpPr>
        <p:spPr>
          <a:xfrm>
            <a:off x="5251063" y="1922455"/>
            <a:ext cx="863507" cy="1198871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83735F20-CEDA-4384-95BD-A6B2EEB8A3E0}"/>
              </a:ext>
            </a:extLst>
          </p:cNvPr>
          <p:cNvSpPr/>
          <p:nvPr/>
        </p:nvSpPr>
        <p:spPr>
          <a:xfrm>
            <a:off x="6196808" y="1912882"/>
            <a:ext cx="973136" cy="1198871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7B227428-2C5A-4BD6-92AD-6CE7C92BDB75}"/>
              </a:ext>
            </a:extLst>
          </p:cNvPr>
          <p:cNvSpPr/>
          <p:nvPr/>
        </p:nvSpPr>
        <p:spPr>
          <a:xfrm>
            <a:off x="7278433" y="1916700"/>
            <a:ext cx="973137" cy="1198871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2" name="Rectángulo 71">
            <a:extLst>
              <a:ext uri="{FF2B5EF4-FFF2-40B4-BE49-F238E27FC236}">
                <a16:creationId xmlns:a16="http://schemas.microsoft.com/office/drawing/2014/main" id="{0FD6A3B0-AA24-4DB8-A60C-C7B4AB37EB4E}"/>
              </a:ext>
            </a:extLst>
          </p:cNvPr>
          <p:cNvSpPr/>
          <p:nvPr/>
        </p:nvSpPr>
        <p:spPr>
          <a:xfrm>
            <a:off x="581589" y="3281665"/>
            <a:ext cx="3324559" cy="1749786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5" name="CuadroTexto 74">
            <a:extLst>
              <a:ext uri="{FF2B5EF4-FFF2-40B4-BE49-F238E27FC236}">
                <a16:creationId xmlns:a16="http://schemas.microsoft.com/office/drawing/2014/main" id="{2EE48F80-1AC2-4484-A3C9-40244D4126AA}"/>
              </a:ext>
            </a:extLst>
          </p:cNvPr>
          <p:cNvSpPr txBox="1"/>
          <p:nvPr/>
        </p:nvSpPr>
        <p:spPr>
          <a:xfrm>
            <a:off x="577201" y="3409287"/>
            <a:ext cx="3272480" cy="16158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b="1" dirty="0">
                <a:solidFill>
                  <a:srgbClr val="FB821E"/>
                </a:solidFill>
                <a:latin typeface="Lato" panose="020F0502020204030203" pitchFamily="34" charset="0"/>
              </a:rPr>
              <a:t>Menor tiempo de arribo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Menor superficie, Menores recursos necesario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Medición, gestión y metas en cada etapa (KPI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Búsqueda de Eficiencias en Cada Etapa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Ciclos de Descarga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Tiempos de Arrib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Inicio de combat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Rendimiento Cortafuegos</a:t>
            </a:r>
          </a:p>
        </p:txBody>
      </p:sp>
      <p:cxnSp>
        <p:nvCxnSpPr>
          <p:cNvPr id="2" name="Straight Connector 8">
            <a:extLst>
              <a:ext uri="{FF2B5EF4-FFF2-40B4-BE49-F238E27FC236}">
                <a16:creationId xmlns:a16="http://schemas.microsoft.com/office/drawing/2014/main" id="{C9668015-09A5-3049-3701-94BE68A12619}"/>
              </a:ext>
            </a:extLst>
          </p:cNvPr>
          <p:cNvCxnSpPr>
            <a:cxnSpLocks/>
          </p:cNvCxnSpPr>
          <p:nvPr/>
        </p:nvCxnSpPr>
        <p:spPr>
          <a:xfrm>
            <a:off x="0" y="411946"/>
            <a:ext cx="9144000" cy="0"/>
          </a:xfrm>
          <a:prstGeom prst="line">
            <a:avLst/>
          </a:prstGeom>
          <a:ln w="12700" cmpd="sng">
            <a:solidFill>
              <a:srgbClr val="E7661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4A27F236-F18E-F63F-79D0-738BEEDD8B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751" y="17836"/>
            <a:ext cx="1406249" cy="367798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BC7ADC64-ECB4-D062-F441-F5A2A998D89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264689" y="4639461"/>
            <a:ext cx="941639" cy="381010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9EB829ED-7BA0-03DE-DD29-4A07312AE35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60468" y="3274864"/>
            <a:ext cx="954566" cy="1435894"/>
          </a:xfrm>
          <a:prstGeom prst="rect">
            <a:avLst/>
          </a:prstGeom>
        </p:spPr>
      </p:pic>
      <p:sp>
        <p:nvSpPr>
          <p:cNvPr id="19" name="Rectángulo 18">
            <a:extLst>
              <a:ext uri="{FF2B5EF4-FFF2-40B4-BE49-F238E27FC236}">
                <a16:creationId xmlns:a16="http://schemas.microsoft.com/office/drawing/2014/main" id="{31D76DA4-EFE3-B52D-9266-81F7DD34B65E}"/>
              </a:ext>
            </a:extLst>
          </p:cNvPr>
          <p:cNvSpPr/>
          <p:nvPr/>
        </p:nvSpPr>
        <p:spPr>
          <a:xfrm>
            <a:off x="4101851" y="3279212"/>
            <a:ext cx="4149719" cy="1752239"/>
          </a:xfrm>
          <a:prstGeom prst="rect">
            <a:avLst/>
          </a:prstGeom>
          <a:noFill/>
          <a:ln>
            <a:solidFill>
              <a:srgbClr val="A6A6A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8035BBB6-910F-66E9-3614-C597BDA73FFF}"/>
              </a:ext>
            </a:extLst>
          </p:cNvPr>
          <p:cNvSpPr txBox="1"/>
          <p:nvPr/>
        </p:nvSpPr>
        <p:spPr>
          <a:xfrm>
            <a:off x="4161862" y="3403901"/>
            <a:ext cx="3272480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100" b="1" dirty="0">
                <a:solidFill>
                  <a:srgbClr val="FB821E"/>
                </a:solidFill>
                <a:latin typeface="Lato" panose="020F0502020204030203" pitchFamily="34" charset="0"/>
              </a:rPr>
              <a:t>Analítica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Base de Datos 20 años, 17.000 incendio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100" dirty="0" err="1">
                <a:solidFill>
                  <a:srgbClr val="696158"/>
                </a:solidFill>
                <a:latin typeface="Lato" panose="020F0502020204030203" pitchFamily="34" charset="0"/>
              </a:rPr>
              <a:t>BigData</a:t>
            </a: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 2017 </a:t>
            </a:r>
            <a:r>
              <a:rPr lang="es-CL" sz="1100" dirty="0" err="1">
                <a:solidFill>
                  <a:srgbClr val="696158"/>
                </a:solidFill>
                <a:latin typeface="Lato" panose="020F0502020204030203" pitchFamily="34" charset="0"/>
              </a:rPr>
              <a:t>Csiro</a:t>
            </a: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 Unidad Básic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L" sz="1100" dirty="0" err="1">
                <a:solidFill>
                  <a:srgbClr val="696158"/>
                </a:solidFill>
                <a:latin typeface="Lato" panose="020F0502020204030203" pitchFamily="34" charset="0"/>
              </a:rPr>
              <a:t>BigData</a:t>
            </a: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 2022 </a:t>
            </a:r>
            <a:r>
              <a:rPr lang="es-CL" sz="1100" dirty="0" err="1">
                <a:solidFill>
                  <a:srgbClr val="696158"/>
                </a:solidFill>
                <a:latin typeface="Lato" panose="020F0502020204030203" pitchFamily="34" charset="0"/>
              </a:rPr>
              <a:t>Csiro</a:t>
            </a:r>
            <a:r>
              <a:rPr lang="es-CL" sz="1100" dirty="0">
                <a:solidFill>
                  <a:srgbClr val="696158"/>
                </a:solidFill>
                <a:latin typeface="Lato" panose="020F0502020204030203" pitchFamily="34" charset="0"/>
              </a:rPr>
              <a:t> Fuerzas de Tarea</a:t>
            </a:r>
          </a:p>
        </p:txBody>
      </p:sp>
      <p:pic>
        <p:nvPicPr>
          <p:cNvPr id="22" name="Imagen 21">
            <a:extLst>
              <a:ext uri="{FF2B5EF4-FFF2-40B4-BE49-F238E27FC236}">
                <a16:creationId xmlns:a16="http://schemas.microsoft.com/office/drawing/2014/main" id="{BFA2982C-C06E-6A42-5AF3-F0EE329B48B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30178" y="4624091"/>
            <a:ext cx="364681" cy="356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8720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4.09510000000000040643E+00&quot;&gt;&lt;m_msothmcolidx val=&quot;0&quot;/&gt;&lt;m_rgb r=&quot;EA&quot; g=&quot;76&quot; b=&quot;00&quot;/&gt;&lt;/elem&gt;&lt;elem m_fUsage=&quot;2.41811559900000050405E+00&quot;&gt;&lt;m_msothmcolidx val=&quot;0&quot;/&gt;&lt;m_rgb r=&quot;BF&quot; g=&quot;B8&quot; b=&quot;00&quot;/&gt;&lt;/elem&gt;&lt;elem m_fUsage=&quot;1.42787308005351043505E+00&quot;&gt;&lt;m_msothmcolidx val=&quot;0&quot;/&gt;&lt;m_rgb r=&quot;69&quot; g=&quot;61&quot; b=&quot;58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952</TotalTime>
  <Words>638</Words>
  <Application>Microsoft Office PowerPoint</Application>
  <PresentationFormat>Presentación en pantalla (16:9)</PresentationFormat>
  <Paragraphs>167</Paragraphs>
  <Slides>13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0" baseType="lpstr">
      <vt:lpstr>Arial</vt:lpstr>
      <vt:lpstr>Calibri</vt:lpstr>
      <vt:lpstr>Lato</vt:lpstr>
      <vt:lpstr>Lato Light</vt:lpstr>
      <vt:lpstr>Wingdings</vt:lpstr>
      <vt:lpstr>Tema de Office</vt:lpstr>
      <vt:lpstr>Diapositiva de think-cell</vt:lpstr>
      <vt:lpstr>Presentación de PowerPoint</vt:lpstr>
      <vt:lpstr>             </vt:lpstr>
      <vt:lpstr>             </vt:lpstr>
      <vt:lpstr>Presentación de PowerPoint</vt:lpstr>
      <vt:lpstr>             </vt:lpstr>
      <vt:lpstr>             </vt:lpstr>
      <vt:lpstr>             </vt:lpstr>
      <vt:lpstr>Presentación de PowerPoint</vt:lpstr>
      <vt:lpstr>             </vt:lpstr>
      <vt:lpstr>             </vt:lpstr>
      <vt:lpstr>Presentación de PowerPoint</vt:lpstr>
      <vt:lpstr>             </vt:lpstr>
      <vt:lpstr>             </vt:lpstr>
    </vt:vector>
  </TitlesOfParts>
  <Company>Procor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aulina Guzman</dc:creator>
  <cp:lastModifiedBy>Fredy Rojas</cp:lastModifiedBy>
  <cp:revision>457</cp:revision>
  <cp:lastPrinted>2018-04-05T11:08:37Z</cp:lastPrinted>
  <dcterms:created xsi:type="dcterms:W3CDTF">2017-07-19T15:04:58Z</dcterms:created>
  <dcterms:modified xsi:type="dcterms:W3CDTF">2024-10-07T01:49:54Z</dcterms:modified>
</cp:coreProperties>
</file>